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9" r:id="rId1"/>
  </p:sldMasterIdLst>
  <p:notesMasterIdLst>
    <p:notesMasterId r:id="rId37"/>
  </p:notesMasterIdLst>
  <p:sldIdLst>
    <p:sldId id="256" r:id="rId2"/>
    <p:sldId id="2146846982" r:id="rId3"/>
    <p:sldId id="2146846979" r:id="rId4"/>
    <p:sldId id="270" r:id="rId5"/>
    <p:sldId id="275" r:id="rId6"/>
    <p:sldId id="264" r:id="rId7"/>
    <p:sldId id="276" r:id="rId8"/>
    <p:sldId id="269" r:id="rId9"/>
    <p:sldId id="298" r:id="rId10"/>
    <p:sldId id="257" r:id="rId11"/>
    <p:sldId id="299" r:id="rId12"/>
    <p:sldId id="283" r:id="rId13"/>
    <p:sldId id="295" r:id="rId14"/>
    <p:sldId id="284" r:id="rId15"/>
    <p:sldId id="286" r:id="rId16"/>
    <p:sldId id="292" r:id="rId17"/>
    <p:sldId id="287" r:id="rId18"/>
    <p:sldId id="289" r:id="rId19"/>
    <p:sldId id="288" r:id="rId20"/>
    <p:sldId id="290" r:id="rId21"/>
    <p:sldId id="278" r:id="rId22"/>
    <p:sldId id="279" r:id="rId23"/>
    <p:sldId id="280" r:id="rId24"/>
    <p:sldId id="267" r:id="rId25"/>
    <p:sldId id="281" r:id="rId26"/>
    <p:sldId id="282" r:id="rId27"/>
    <p:sldId id="296" r:id="rId28"/>
    <p:sldId id="291" r:id="rId29"/>
    <p:sldId id="272" r:id="rId30"/>
    <p:sldId id="301" r:id="rId31"/>
    <p:sldId id="271" r:id="rId32"/>
    <p:sldId id="273" r:id="rId33"/>
    <p:sldId id="274" r:id="rId34"/>
    <p:sldId id="300" r:id="rId35"/>
    <p:sldId id="262" r:id="rId36"/>
  </p:sldIdLst>
  <p:sldSz cx="9144000" cy="5143500" type="screen16x9"/>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Example charts" id="{7B6C9A1C-66FB-4DF4-8A3D-7368AC87FD10}">
          <p14:sldIdLst>
            <p14:sldId id="256"/>
            <p14:sldId id="2146846982"/>
            <p14:sldId id="2146846979"/>
            <p14:sldId id="270"/>
            <p14:sldId id="275"/>
            <p14:sldId id="264"/>
            <p14:sldId id="276"/>
            <p14:sldId id="269"/>
            <p14:sldId id="298"/>
            <p14:sldId id="257"/>
            <p14:sldId id="299"/>
            <p14:sldId id="283"/>
            <p14:sldId id="295"/>
            <p14:sldId id="284"/>
            <p14:sldId id="286"/>
            <p14:sldId id="292"/>
            <p14:sldId id="287"/>
            <p14:sldId id="289"/>
            <p14:sldId id="288"/>
            <p14:sldId id="290"/>
            <p14:sldId id="278"/>
            <p14:sldId id="279"/>
            <p14:sldId id="280"/>
            <p14:sldId id="267"/>
            <p14:sldId id="281"/>
            <p14:sldId id="282"/>
            <p14:sldId id="296"/>
            <p14:sldId id="291"/>
            <p14:sldId id="272"/>
            <p14:sldId id="301"/>
            <p14:sldId id="271"/>
            <p14:sldId id="273"/>
            <p14:sldId id="274"/>
            <p14:sldId id="300"/>
            <p14:sldId id="262"/>
          </p14:sldIdLst>
        </p14:section>
      </p14:sectionLst>
    </p:ext>
    <p:ext uri="{EFAFB233-063F-42B5-8137-9DF3F51BA10A}">
      <p15:sldGuideLst xmlns:p15="http://schemas.microsoft.com/office/powerpoint/2012/main">
        <p15:guide id="1" orient="horz">
          <p15:clr>
            <a:srgbClr val="A4A3A4"/>
          </p15:clr>
        </p15:guide>
        <p15:guide id="2" pos="469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FF"/>
    <a:srgbClr val="1F497D"/>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0C7939-7608-4B49-B2D7-7F93E6CA63D9}" v="4963" dt="2022-09-09T06:15:40.60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11" autoAdjust="0"/>
    <p:restoredTop sz="94660"/>
  </p:normalViewPr>
  <p:slideViewPr>
    <p:cSldViewPr snapToGrid="0" snapToObjects="1">
      <p:cViewPr varScale="1">
        <p:scale>
          <a:sx n="106" d="100"/>
          <a:sy n="106" d="100"/>
        </p:scale>
        <p:origin x="62" y="96"/>
      </p:cViewPr>
      <p:guideLst>
        <p:guide orient="horz"/>
        <p:guide pos="469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groote,Dr.,Matthias (QC) BIM-NL-A" userId="41b105fd-0c60-4b73-9c68-f6bd9a3e273d" providerId="ADAL" clId="{EF0C7939-7608-4B49-B2D7-7F93E6CA63D9}"/>
    <pc:docChg chg="undo redo custSel addSld delSld modSld sldOrd modSection">
      <pc:chgData name="Degroote,Dr.,Matthias (QC) BIM-NL-A" userId="41b105fd-0c60-4b73-9c68-f6bd9a3e273d" providerId="ADAL" clId="{EF0C7939-7608-4B49-B2D7-7F93E6CA63D9}" dt="2022-09-09T06:19:32.908" v="28624" actId="20577"/>
      <pc:docMkLst>
        <pc:docMk/>
      </pc:docMkLst>
      <pc:sldChg chg="modSp mod">
        <pc:chgData name="Degroote,Dr.,Matthias (QC) BIM-NL-A" userId="41b105fd-0c60-4b73-9c68-f6bd9a3e273d" providerId="ADAL" clId="{EF0C7939-7608-4B49-B2D7-7F93E6CA63D9}" dt="2022-09-02T12:03:53.491" v="880" actId="20577"/>
        <pc:sldMkLst>
          <pc:docMk/>
          <pc:sldMk cId="1576342978" sldId="256"/>
        </pc:sldMkLst>
        <pc:spChg chg="mod">
          <ac:chgData name="Degroote,Dr.,Matthias (QC) BIM-NL-A" userId="41b105fd-0c60-4b73-9c68-f6bd9a3e273d" providerId="ADAL" clId="{EF0C7939-7608-4B49-B2D7-7F93E6CA63D9}" dt="2022-09-02T12:03:33.994" v="847" actId="20577"/>
          <ac:spMkLst>
            <pc:docMk/>
            <pc:sldMk cId="1576342978" sldId="256"/>
            <ac:spMk id="2" creationId="{00000000-0000-0000-0000-000000000000}"/>
          </ac:spMkLst>
        </pc:spChg>
        <pc:spChg chg="mod">
          <ac:chgData name="Degroote,Dr.,Matthias (QC) BIM-NL-A" userId="41b105fd-0c60-4b73-9c68-f6bd9a3e273d" providerId="ADAL" clId="{EF0C7939-7608-4B49-B2D7-7F93E6CA63D9}" dt="2022-09-02T12:03:53.491" v="880" actId="20577"/>
          <ac:spMkLst>
            <pc:docMk/>
            <pc:sldMk cId="1576342978" sldId="256"/>
            <ac:spMk id="3" creationId="{00000000-0000-0000-0000-000000000000}"/>
          </ac:spMkLst>
        </pc:spChg>
      </pc:sldChg>
      <pc:sldChg chg="modSp mod ord">
        <pc:chgData name="Degroote,Dr.,Matthias (QC) BIM-NL-A" userId="41b105fd-0c60-4b73-9c68-f6bd9a3e273d" providerId="ADAL" clId="{EF0C7939-7608-4B49-B2D7-7F93E6CA63D9}" dt="2022-09-05T20:17:29.422" v="15842" actId="6549"/>
        <pc:sldMkLst>
          <pc:docMk/>
          <pc:sldMk cId="289765942" sldId="257"/>
        </pc:sldMkLst>
        <pc:spChg chg="mod">
          <ac:chgData name="Degroote,Dr.,Matthias (QC) BIM-NL-A" userId="41b105fd-0c60-4b73-9c68-f6bd9a3e273d" providerId="ADAL" clId="{EF0C7939-7608-4B49-B2D7-7F93E6CA63D9}" dt="2022-09-02T12:01:51.878" v="659" actId="20577"/>
          <ac:spMkLst>
            <pc:docMk/>
            <pc:sldMk cId="289765942" sldId="257"/>
            <ac:spMk id="2" creationId="{00000000-0000-0000-0000-000000000000}"/>
          </ac:spMkLst>
        </pc:spChg>
        <pc:spChg chg="mod">
          <ac:chgData name="Degroote,Dr.,Matthias (QC) BIM-NL-A" userId="41b105fd-0c60-4b73-9c68-f6bd9a3e273d" providerId="ADAL" clId="{EF0C7939-7608-4B49-B2D7-7F93E6CA63D9}" dt="2022-09-05T20:17:29.422" v="15842" actId="6549"/>
          <ac:spMkLst>
            <pc:docMk/>
            <pc:sldMk cId="289765942" sldId="257"/>
            <ac:spMk id="3" creationId="{00000000-0000-0000-0000-000000000000}"/>
          </ac:spMkLst>
        </pc:spChg>
      </pc:sldChg>
      <pc:sldChg chg="addSp delSp modSp mod modClrScheme chgLayout">
        <pc:chgData name="Degroote,Dr.,Matthias (QC) BIM-NL-A" userId="41b105fd-0c60-4b73-9c68-f6bd9a3e273d" providerId="ADAL" clId="{EF0C7939-7608-4B49-B2D7-7F93E6CA63D9}" dt="2022-09-05T22:48:22.599" v="24223" actId="20577"/>
        <pc:sldMkLst>
          <pc:docMk/>
          <pc:sldMk cId="793548987" sldId="262"/>
        </pc:sldMkLst>
        <pc:spChg chg="del mod ord">
          <ac:chgData name="Degroote,Dr.,Matthias (QC) BIM-NL-A" userId="41b105fd-0c60-4b73-9c68-f6bd9a3e273d" providerId="ADAL" clId="{EF0C7939-7608-4B49-B2D7-7F93E6CA63D9}" dt="2022-09-05T20:08:30.345" v="15829" actId="478"/>
          <ac:spMkLst>
            <pc:docMk/>
            <pc:sldMk cId="793548987" sldId="262"/>
            <ac:spMk id="2" creationId="{00000000-0000-0000-0000-000000000000}"/>
          </ac:spMkLst>
        </pc:spChg>
        <pc:spChg chg="del mod ord">
          <ac:chgData name="Degroote,Dr.,Matthias (QC) BIM-NL-A" userId="41b105fd-0c60-4b73-9c68-f6bd9a3e273d" providerId="ADAL" clId="{EF0C7939-7608-4B49-B2D7-7F93E6CA63D9}" dt="2022-09-05T20:09:59.954" v="15840" actId="6264"/>
          <ac:spMkLst>
            <pc:docMk/>
            <pc:sldMk cId="793548987" sldId="262"/>
            <ac:spMk id="3" creationId="{00000000-0000-0000-0000-000000000000}"/>
          </ac:spMkLst>
        </pc:spChg>
        <pc:spChg chg="del mod ord">
          <ac:chgData name="Degroote,Dr.,Matthias (QC) BIM-NL-A" userId="41b105fd-0c60-4b73-9c68-f6bd9a3e273d" providerId="ADAL" clId="{EF0C7939-7608-4B49-B2D7-7F93E6CA63D9}" dt="2022-09-05T20:09:59.954" v="15840" actId="6264"/>
          <ac:spMkLst>
            <pc:docMk/>
            <pc:sldMk cId="793548987" sldId="262"/>
            <ac:spMk id="4" creationId="{00000000-0000-0000-0000-000000000000}"/>
          </ac:spMkLst>
        </pc:spChg>
        <pc:spChg chg="del mod ord">
          <ac:chgData name="Degroote,Dr.,Matthias (QC) BIM-NL-A" userId="41b105fd-0c60-4b73-9c68-f6bd9a3e273d" providerId="ADAL" clId="{EF0C7939-7608-4B49-B2D7-7F93E6CA63D9}" dt="2022-09-05T20:08:44.346" v="15834" actId="478"/>
          <ac:spMkLst>
            <pc:docMk/>
            <pc:sldMk cId="793548987" sldId="262"/>
            <ac:spMk id="5" creationId="{00000000-0000-0000-0000-000000000000}"/>
          </ac:spMkLst>
        </pc:spChg>
        <pc:spChg chg="del mod ord">
          <ac:chgData name="Degroote,Dr.,Matthias (QC) BIM-NL-A" userId="41b105fd-0c60-4b73-9c68-f6bd9a3e273d" providerId="ADAL" clId="{EF0C7939-7608-4B49-B2D7-7F93E6CA63D9}" dt="2022-09-05T20:08:49.427" v="15836" actId="478"/>
          <ac:spMkLst>
            <pc:docMk/>
            <pc:sldMk cId="793548987" sldId="262"/>
            <ac:spMk id="6" creationId="{00000000-0000-0000-0000-000000000000}"/>
          </ac:spMkLst>
        </pc:spChg>
        <pc:spChg chg="del mod ord">
          <ac:chgData name="Degroote,Dr.,Matthias (QC) BIM-NL-A" userId="41b105fd-0c60-4b73-9c68-f6bd9a3e273d" providerId="ADAL" clId="{EF0C7939-7608-4B49-B2D7-7F93E6CA63D9}" dt="2022-09-05T20:08:39.337" v="15832" actId="478"/>
          <ac:spMkLst>
            <pc:docMk/>
            <pc:sldMk cId="793548987" sldId="262"/>
            <ac:spMk id="7" creationId="{00000000-0000-0000-0000-000000000000}"/>
          </ac:spMkLst>
        </pc:spChg>
        <pc:spChg chg="del mod ord">
          <ac:chgData name="Degroote,Dr.,Matthias (QC) BIM-NL-A" userId="41b105fd-0c60-4b73-9c68-f6bd9a3e273d" providerId="ADAL" clId="{EF0C7939-7608-4B49-B2D7-7F93E6CA63D9}" dt="2022-09-05T20:08:42.482" v="15833" actId="478"/>
          <ac:spMkLst>
            <pc:docMk/>
            <pc:sldMk cId="793548987" sldId="262"/>
            <ac:spMk id="8" creationId="{00000000-0000-0000-0000-000000000000}"/>
          </ac:spMkLst>
        </pc:spChg>
        <pc:spChg chg="del mod ord">
          <ac:chgData name="Degroote,Dr.,Matthias (QC) BIM-NL-A" userId="41b105fd-0c60-4b73-9c68-f6bd9a3e273d" providerId="ADAL" clId="{EF0C7939-7608-4B49-B2D7-7F93E6CA63D9}" dt="2022-09-05T20:18:33.666" v="15846" actId="700"/>
          <ac:spMkLst>
            <pc:docMk/>
            <pc:sldMk cId="793548987" sldId="262"/>
            <ac:spMk id="9" creationId="{00000000-0000-0000-0000-000000000000}"/>
          </ac:spMkLst>
        </pc:spChg>
        <pc:spChg chg="del mod ord">
          <ac:chgData name="Degroote,Dr.,Matthias (QC) BIM-NL-A" userId="41b105fd-0c60-4b73-9c68-f6bd9a3e273d" providerId="ADAL" clId="{EF0C7939-7608-4B49-B2D7-7F93E6CA63D9}" dt="2022-09-05T20:18:33.666" v="15846" actId="700"/>
          <ac:spMkLst>
            <pc:docMk/>
            <pc:sldMk cId="793548987" sldId="262"/>
            <ac:spMk id="10" creationId="{00000000-0000-0000-0000-000000000000}"/>
          </ac:spMkLst>
        </pc:spChg>
        <pc:spChg chg="del mod ord">
          <ac:chgData name="Degroote,Dr.,Matthias (QC) BIM-NL-A" userId="41b105fd-0c60-4b73-9c68-f6bd9a3e273d" providerId="ADAL" clId="{EF0C7939-7608-4B49-B2D7-7F93E6CA63D9}" dt="2022-09-05T20:19:21.500" v="15850" actId="700"/>
          <ac:spMkLst>
            <pc:docMk/>
            <pc:sldMk cId="793548987" sldId="262"/>
            <ac:spMk id="11" creationId="{00000000-0000-0000-0000-000000000000}"/>
          </ac:spMkLst>
        </pc:spChg>
        <pc:spChg chg="del mod ord">
          <ac:chgData name="Degroote,Dr.,Matthias (QC) BIM-NL-A" userId="41b105fd-0c60-4b73-9c68-f6bd9a3e273d" providerId="ADAL" clId="{EF0C7939-7608-4B49-B2D7-7F93E6CA63D9}" dt="2022-09-05T20:19:21.500" v="15850" actId="700"/>
          <ac:spMkLst>
            <pc:docMk/>
            <pc:sldMk cId="793548987" sldId="262"/>
            <ac:spMk id="12" creationId="{00000000-0000-0000-0000-000000000000}"/>
          </ac:spMkLst>
        </pc:spChg>
        <pc:spChg chg="add del mod">
          <ac:chgData name="Degroote,Dr.,Matthias (QC) BIM-NL-A" userId="41b105fd-0c60-4b73-9c68-f6bd9a3e273d" providerId="ADAL" clId="{EF0C7939-7608-4B49-B2D7-7F93E6CA63D9}" dt="2022-09-05T20:09:59.954" v="15840" actId="6264"/>
          <ac:spMkLst>
            <pc:docMk/>
            <pc:sldMk cId="793548987" sldId="262"/>
            <ac:spMk id="14" creationId="{1466B68C-C0DE-41A9-91F7-5F4745AE22EB}"/>
          </ac:spMkLst>
        </pc:spChg>
        <pc:spChg chg="add del mod">
          <ac:chgData name="Degroote,Dr.,Matthias (QC) BIM-NL-A" userId="41b105fd-0c60-4b73-9c68-f6bd9a3e273d" providerId="ADAL" clId="{EF0C7939-7608-4B49-B2D7-7F93E6CA63D9}" dt="2022-09-05T20:09:59.954" v="15840" actId="6264"/>
          <ac:spMkLst>
            <pc:docMk/>
            <pc:sldMk cId="793548987" sldId="262"/>
            <ac:spMk id="16" creationId="{A1384890-917B-43DC-A67B-288DDFD76B2D}"/>
          </ac:spMkLst>
        </pc:spChg>
        <pc:spChg chg="add del mod">
          <ac:chgData name="Degroote,Dr.,Matthias (QC) BIM-NL-A" userId="41b105fd-0c60-4b73-9c68-f6bd9a3e273d" providerId="ADAL" clId="{EF0C7939-7608-4B49-B2D7-7F93E6CA63D9}" dt="2022-09-05T20:09:59.954" v="15840" actId="6264"/>
          <ac:spMkLst>
            <pc:docMk/>
            <pc:sldMk cId="793548987" sldId="262"/>
            <ac:spMk id="18" creationId="{26C0FC0D-8BFF-4C8E-8763-AB516CFA2016}"/>
          </ac:spMkLst>
        </pc:spChg>
        <pc:spChg chg="add del mod">
          <ac:chgData name="Degroote,Dr.,Matthias (QC) BIM-NL-A" userId="41b105fd-0c60-4b73-9c68-f6bd9a3e273d" providerId="ADAL" clId="{EF0C7939-7608-4B49-B2D7-7F93E6CA63D9}" dt="2022-09-05T20:09:59.954" v="15840" actId="6264"/>
          <ac:spMkLst>
            <pc:docMk/>
            <pc:sldMk cId="793548987" sldId="262"/>
            <ac:spMk id="20" creationId="{8E5E86E3-7069-45FC-A861-382A149B8550}"/>
          </ac:spMkLst>
        </pc:spChg>
        <pc:spChg chg="add del mod">
          <ac:chgData name="Degroote,Dr.,Matthias (QC) BIM-NL-A" userId="41b105fd-0c60-4b73-9c68-f6bd9a3e273d" providerId="ADAL" clId="{EF0C7939-7608-4B49-B2D7-7F93E6CA63D9}" dt="2022-09-05T20:09:59.954" v="15840" actId="6264"/>
          <ac:spMkLst>
            <pc:docMk/>
            <pc:sldMk cId="793548987" sldId="262"/>
            <ac:spMk id="22" creationId="{134B9E20-EFFD-4F59-82E3-11B0B80142B6}"/>
          </ac:spMkLst>
        </pc:spChg>
        <pc:spChg chg="add del mod">
          <ac:chgData name="Degroote,Dr.,Matthias (QC) BIM-NL-A" userId="41b105fd-0c60-4b73-9c68-f6bd9a3e273d" providerId="ADAL" clId="{EF0C7939-7608-4B49-B2D7-7F93E6CA63D9}" dt="2022-09-05T20:09:59.954" v="15840" actId="6264"/>
          <ac:spMkLst>
            <pc:docMk/>
            <pc:sldMk cId="793548987" sldId="262"/>
            <ac:spMk id="23" creationId="{B89EBB4B-1E6E-488A-9184-0542CB5670AA}"/>
          </ac:spMkLst>
        </pc:spChg>
        <pc:spChg chg="add del mod">
          <ac:chgData name="Degroote,Dr.,Matthias (QC) BIM-NL-A" userId="41b105fd-0c60-4b73-9c68-f6bd9a3e273d" providerId="ADAL" clId="{EF0C7939-7608-4B49-B2D7-7F93E6CA63D9}" dt="2022-09-05T20:09:59.954" v="15840" actId="6264"/>
          <ac:spMkLst>
            <pc:docMk/>
            <pc:sldMk cId="793548987" sldId="262"/>
            <ac:spMk id="24" creationId="{C393BE26-F109-462F-BCA9-ECF3CD77D249}"/>
          </ac:spMkLst>
        </pc:spChg>
        <pc:spChg chg="add del mod">
          <ac:chgData name="Degroote,Dr.,Matthias (QC) BIM-NL-A" userId="41b105fd-0c60-4b73-9c68-f6bd9a3e273d" providerId="ADAL" clId="{EF0C7939-7608-4B49-B2D7-7F93E6CA63D9}" dt="2022-09-05T20:09:59.954" v="15840" actId="6264"/>
          <ac:spMkLst>
            <pc:docMk/>
            <pc:sldMk cId="793548987" sldId="262"/>
            <ac:spMk id="25" creationId="{BF01C068-A656-4A27-A10C-8909D1F5289C}"/>
          </ac:spMkLst>
        </pc:spChg>
        <pc:spChg chg="add del mod">
          <ac:chgData name="Degroote,Dr.,Matthias (QC) BIM-NL-A" userId="41b105fd-0c60-4b73-9c68-f6bd9a3e273d" providerId="ADAL" clId="{EF0C7939-7608-4B49-B2D7-7F93E6CA63D9}" dt="2022-09-05T20:09:59.954" v="15840" actId="6264"/>
          <ac:spMkLst>
            <pc:docMk/>
            <pc:sldMk cId="793548987" sldId="262"/>
            <ac:spMk id="26" creationId="{18CE733F-AAF5-4A41-901A-E6E2303C1BF8}"/>
          </ac:spMkLst>
        </pc:spChg>
        <pc:spChg chg="add del mod ord">
          <ac:chgData name="Degroote,Dr.,Matthias (QC) BIM-NL-A" userId="41b105fd-0c60-4b73-9c68-f6bd9a3e273d" providerId="ADAL" clId="{EF0C7939-7608-4B49-B2D7-7F93E6CA63D9}" dt="2022-09-05T20:18:33.666" v="15846" actId="700"/>
          <ac:spMkLst>
            <pc:docMk/>
            <pc:sldMk cId="793548987" sldId="262"/>
            <ac:spMk id="27" creationId="{BB100B8D-325C-4CF6-A5C7-94DF43E60EFB}"/>
          </ac:spMkLst>
        </pc:spChg>
        <pc:spChg chg="add del mod ord">
          <ac:chgData name="Degroote,Dr.,Matthias (QC) BIM-NL-A" userId="41b105fd-0c60-4b73-9c68-f6bd9a3e273d" providerId="ADAL" clId="{EF0C7939-7608-4B49-B2D7-7F93E6CA63D9}" dt="2022-09-05T20:18:33.666" v="15846" actId="700"/>
          <ac:spMkLst>
            <pc:docMk/>
            <pc:sldMk cId="793548987" sldId="262"/>
            <ac:spMk id="28" creationId="{3B2B4C84-B72E-4E1B-A648-B51606B3B5CC}"/>
          </ac:spMkLst>
        </pc:spChg>
        <pc:spChg chg="add del mod ord">
          <ac:chgData name="Degroote,Dr.,Matthias (QC) BIM-NL-A" userId="41b105fd-0c60-4b73-9c68-f6bd9a3e273d" providerId="ADAL" clId="{EF0C7939-7608-4B49-B2D7-7F93E6CA63D9}" dt="2022-09-05T20:18:33.666" v="15846" actId="700"/>
          <ac:spMkLst>
            <pc:docMk/>
            <pc:sldMk cId="793548987" sldId="262"/>
            <ac:spMk id="29" creationId="{3AF3D231-1253-4FF7-A2EE-F64C4C04B627}"/>
          </ac:spMkLst>
        </pc:spChg>
        <pc:spChg chg="add del mod ord">
          <ac:chgData name="Degroote,Dr.,Matthias (QC) BIM-NL-A" userId="41b105fd-0c60-4b73-9c68-f6bd9a3e273d" providerId="ADAL" clId="{EF0C7939-7608-4B49-B2D7-7F93E6CA63D9}" dt="2022-09-05T20:18:33.666" v="15846" actId="700"/>
          <ac:spMkLst>
            <pc:docMk/>
            <pc:sldMk cId="793548987" sldId="262"/>
            <ac:spMk id="30" creationId="{B5B9CF31-C32C-4861-8CC0-784F1695DBCA}"/>
          </ac:spMkLst>
        </pc:spChg>
        <pc:spChg chg="add del mod ord">
          <ac:chgData name="Degroote,Dr.,Matthias (QC) BIM-NL-A" userId="41b105fd-0c60-4b73-9c68-f6bd9a3e273d" providerId="ADAL" clId="{EF0C7939-7608-4B49-B2D7-7F93E6CA63D9}" dt="2022-09-05T20:18:33.666" v="15846" actId="700"/>
          <ac:spMkLst>
            <pc:docMk/>
            <pc:sldMk cId="793548987" sldId="262"/>
            <ac:spMk id="31" creationId="{310D20C5-A708-480E-9E8B-2EBB37484281}"/>
          </ac:spMkLst>
        </pc:spChg>
        <pc:spChg chg="add del mod ord">
          <ac:chgData name="Degroote,Dr.,Matthias (QC) BIM-NL-A" userId="41b105fd-0c60-4b73-9c68-f6bd9a3e273d" providerId="ADAL" clId="{EF0C7939-7608-4B49-B2D7-7F93E6CA63D9}" dt="2022-09-05T20:18:33.666" v="15846" actId="700"/>
          <ac:spMkLst>
            <pc:docMk/>
            <pc:sldMk cId="793548987" sldId="262"/>
            <ac:spMk id="32" creationId="{4654A60D-26D2-424A-A3FB-88394D93A4CB}"/>
          </ac:spMkLst>
        </pc:spChg>
        <pc:spChg chg="add del mod ord">
          <ac:chgData name="Degroote,Dr.,Matthias (QC) BIM-NL-A" userId="41b105fd-0c60-4b73-9c68-f6bd9a3e273d" providerId="ADAL" clId="{EF0C7939-7608-4B49-B2D7-7F93E6CA63D9}" dt="2022-09-05T20:18:33.666" v="15846" actId="700"/>
          <ac:spMkLst>
            <pc:docMk/>
            <pc:sldMk cId="793548987" sldId="262"/>
            <ac:spMk id="33" creationId="{61B6DBD0-203B-4383-9AE5-5A3AB1A2EA0D}"/>
          </ac:spMkLst>
        </pc:spChg>
        <pc:spChg chg="add del mod ord">
          <ac:chgData name="Degroote,Dr.,Matthias (QC) BIM-NL-A" userId="41b105fd-0c60-4b73-9c68-f6bd9a3e273d" providerId="ADAL" clId="{EF0C7939-7608-4B49-B2D7-7F93E6CA63D9}" dt="2022-09-05T20:18:43.328" v="15847" actId="700"/>
          <ac:spMkLst>
            <pc:docMk/>
            <pc:sldMk cId="793548987" sldId="262"/>
            <ac:spMk id="34" creationId="{7ECE9090-2092-41E3-A751-EB8F43FF8481}"/>
          </ac:spMkLst>
        </pc:spChg>
        <pc:spChg chg="add del mod ord">
          <ac:chgData name="Degroote,Dr.,Matthias (QC) BIM-NL-A" userId="41b105fd-0c60-4b73-9c68-f6bd9a3e273d" providerId="ADAL" clId="{EF0C7939-7608-4B49-B2D7-7F93E6CA63D9}" dt="2022-09-05T20:19:21.500" v="15850" actId="700"/>
          <ac:spMkLst>
            <pc:docMk/>
            <pc:sldMk cId="793548987" sldId="262"/>
            <ac:spMk id="35" creationId="{662CBFA7-89FC-4CEA-8660-93BB7C25C8DB}"/>
          </ac:spMkLst>
        </pc:spChg>
        <pc:spChg chg="add del mod ord">
          <ac:chgData name="Degroote,Dr.,Matthias (QC) BIM-NL-A" userId="41b105fd-0c60-4b73-9c68-f6bd9a3e273d" providerId="ADAL" clId="{EF0C7939-7608-4B49-B2D7-7F93E6CA63D9}" dt="2022-09-05T20:19:21.500" v="15850" actId="700"/>
          <ac:spMkLst>
            <pc:docMk/>
            <pc:sldMk cId="793548987" sldId="262"/>
            <ac:spMk id="36" creationId="{756CBB23-ACF8-41BB-853B-9CC84A4E759D}"/>
          </ac:spMkLst>
        </pc:spChg>
        <pc:spChg chg="add mod ord">
          <ac:chgData name="Degroote,Dr.,Matthias (QC) BIM-NL-A" userId="41b105fd-0c60-4b73-9c68-f6bd9a3e273d" providerId="ADAL" clId="{EF0C7939-7608-4B49-B2D7-7F93E6CA63D9}" dt="2022-09-05T22:48:22.599" v="24223" actId="20577"/>
          <ac:spMkLst>
            <pc:docMk/>
            <pc:sldMk cId="793548987" sldId="262"/>
            <ac:spMk id="37" creationId="{3464E5DF-3BBB-4818-AC8F-314A48B2C16F}"/>
          </ac:spMkLst>
        </pc:spChg>
        <pc:spChg chg="add mod ord">
          <ac:chgData name="Degroote,Dr.,Matthias (QC) BIM-NL-A" userId="41b105fd-0c60-4b73-9c68-f6bd9a3e273d" providerId="ADAL" clId="{EF0C7939-7608-4B49-B2D7-7F93E6CA63D9}" dt="2022-09-05T20:21:18.011" v="16006" actId="14100"/>
          <ac:spMkLst>
            <pc:docMk/>
            <pc:sldMk cId="793548987" sldId="262"/>
            <ac:spMk id="38" creationId="{C4BCD44C-0DF3-4491-8AAF-7C78AF3FD0B6}"/>
          </ac:spMkLst>
        </pc:spChg>
        <pc:spChg chg="add del mod ord">
          <ac:chgData name="Degroote,Dr.,Matthias (QC) BIM-NL-A" userId="41b105fd-0c60-4b73-9c68-f6bd9a3e273d" providerId="ADAL" clId="{EF0C7939-7608-4B49-B2D7-7F93E6CA63D9}" dt="2022-09-05T20:21:06.848" v="16005" actId="700"/>
          <ac:spMkLst>
            <pc:docMk/>
            <pc:sldMk cId="793548987" sldId="262"/>
            <ac:spMk id="39" creationId="{AF4BD4A5-78BA-4F21-AB9F-633511549DBF}"/>
          </ac:spMkLst>
        </pc:spChg>
      </pc:sldChg>
      <pc:sldChg chg="addSp delSp modSp mod">
        <pc:chgData name="Degroote,Dr.,Matthias (QC) BIM-NL-A" userId="41b105fd-0c60-4b73-9c68-f6bd9a3e273d" providerId="ADAL" clId="{EF0C7939-7608-4B49-B2D7-7F93E6CA63D9}" dt="2022-09-05T22:01:38.014" v="23073" actId="14100"/>
        <pc:sldMkLst>
          <pc:docMk/>
          <pc:sldMk cId="393310680" sldId="264"/>
        </pc:sldMkLst>
        <pc:spChg chg="add del mod">
          <ac:chgData name="Degroote,Dr.,Matthias (QC) BIM-NL-A" userId="41b105fd-0c60-4b73-9c68-f6bd9a3e273d" providerId="ADAL" clId="{EF0C7939-7608-4B49-B2D7-7F93E6CA63D9}" dt="2022-09-02T14:57:48.726" v="2866" actId="478"/>
          <ac:spMkLst>
            <pc:docMk/>
            <pc:sldMk cId="393310680" sldId="264"/>
            <ac:spMk id="2" creationId="{14BAEA8E-EFB0-4046-BBF8-E29BA7366203}"/>
          </ac:spMkLst>
        </pc:spChg>
        <pc:spChg chg="add del">
          <ac:chgData name="Degroote,Dr.,Matthias (QC) BIM-NL-A" userId="41b105fd-0c60-4b73-9c68-f6bd9a3e273d" providerId="ADAL" clId="{EF0C7939-7608-4B49-B2D7-7F93E6CA63D9}" dt="2022-09-02T13:07:01.220" v="1986" actId="478"/>
          <ac:spMkLst>
            <pc:docMk/>
            <pc:sldMk cId="393310680" sldId="264"/>
            <ac:spMk id="2" creationId="{2134806C-C937-43DE-898C-6087329D960E}"/>
          </ac:spMkLst>
        </pc:spChg>
        <pc:spChg chg="add del">
          <ac:chgData name="Degroote,Dr.,Matthias (QC) BIM-NL-A" userId="41b105fd-0c60-4b73-9c68-f6bd9a3e273d" providerId="ADAL" clId="{EF0C7939-7608-4B49-B2D7-7F93E6CA63D9}" dt="2022-09-02T15:01:58.495" v="2946"/>
          <ac:spMkLst>
            <pc:docMk/>
            <pc:sldMk cId="393310680" sldId="264"/>
            <ac:spMk id="3" creationId="{9DA77CC4-85CD-408F-A44A-21B127E5B8D5}"/>
          </ac:spMkLst>
        </pc:spChg>
        <pc:spChg chg="add mod">
          <ac:chgData name="Degroote,Dr.,Matthias (QC) BIM-NL-A" userId="41b105fd-0c60-4b73-9c68-f6bd9a3e273d" providerId="ADAL" clId="{EF0C7939-7608-4B49-B2D7-7F93E6CA63D9}" dt="2022-09-05T21:49:41.273" v="23060" actId="1076"/>
          <ac:spMkLst>
            <pc:docMk/>
            <pc:sldMk cId="393310680" sldId="264"/>
            <ac:spMk id="4" creationId="{21721927-0768-42A2-8847-F4796F489F83}"/>
          </ac:spMkLst>
        </pc:spChg>
        <pc:spChg chg="mod">
          <ac:chgData name="Degroote,Dr.,Matthias (QC) BIM-NL-A" userId="41b105fd-0c60-4b73-9c68-f6bd9a3e273d" providerId="ADAL" clId="{EF0C7939-7608-4B49-B2D7-7F93E6CA63D9}" dt="2022-09-02T14:21:26.234" v="2166" actId="20577"/>
          <ac:spMkLst>
            <pc:docMk/>
            <pc:sldMk cId="393310680" sldId="264"/>
            <ac:spMk id="5" creationId="{8CD5524B-202E-439D-ACEC-55946B0598B4}"/>
          </ac:spMkLst>
        </pc:spChg>
        <pc:spChg chg="mod">
          <ac:chgData name="Degroote,Dr.,Matthias (QC) BIM-NL-A" userId="41b105fd-0c60-4b73-9c68-f6bd9a3e273d" providerId="ADAL" clId="{EF0C7939-7608-4B49-B2D7-7F93E6CA63D9}" dt="2022-09-05T21:49:07.896" v="23056" actId="5793"/>
          <ac:spMkLst>
            <pc:docMk/>
            <pc:sldMk cId="393310680" sldId="264"/>
            <ac:spMk id="6" creationId="{45EDCE02-D42F-4816-B84F-1D3C60508B6F}"/>
          </ac:spMkLst>
        </pc:spChg>
        <pc:spChg chg="add del">
          <ac:chgData name="Degroote,Dr.,Matthias (QC) BIM-NL-A" userId="41b105fd-0c60-4b73-9c68-f6bd9a3e273d" providerId="ADAL" clId="{EF0C7939-7608-4B49-B2D7-7F93E6CA63D9}" dt="2022-09-02T15:02:01.382" v="2948"/>
          <ac:spMkLst>
            <pc:docMk/>
            <pc:sldMk cId="393310680" sldId="264"/>
            <ac:spMk id="7" creationId="{8B1DC549-F8F5-46E8-B492-DDA8E318F7EB}"/>
          </ac:spMkLst>
        </pc:spChg>
        <pc:spChg chg="add del">
          <ac:chgData name="Degroote,Dr.,Matthias (QC) BIM-NL-A" userId="41b105fd-0c60-4b73-9c68-f6bd9a3e273d" providerId="ADAL" clId="{EF0C7939-7608-4B49-B2D7-7F93E6CA63D9}" dt="2022-09-02T15:02:07.047" v="2950" actId="478"/>
          <ac:spMkLst>
            <pc:docMk/>
            <pc:sldMk cId="393310680" sldId="264"/>
            <ac:spMk id="8" creationId="{BE0E2F88-7365-45C4-BF8F-C4426DC948A8}"/>
          </ac:spMkLst>
        </pc:spChg>
        <pc:spChg chg="add del">
          <ac:chgData name="Degroote,Dr.,Matthias (QC) BIM-NL-A" userId="41b105fd-0c60-4b73-9c68-f6bd9a3e273d" providerId="ADAL" clId="{EF0C7939-7608-4B49-B2D7-7F93E6CA63D9}" dt="2022-09-02T15:02:13.757" v="2952" actId="478"/>
          <ac:spMkLst>
            <pc:docMk/>
            <pc:sldMk cId="393310680" sldId="264"/>
            <ac:spMk id="9" creationId="{7514BF46-2656-42BD-AF1A-AF5E726FD9BD}"/>
          </ac:spMkLst>
        </pc:spChg>
        <pc:spChg chg="add del mod">
          <ac:chgData name="Degroote,Dr.,Matthias (QC) BIM-NL-A" userId="41b105fd-0c60-4b73-9c68-f6bd9a3e273d" providerId="ADAL" clId="{EF0C7939-7608-4B49-B2D7-7F93E6CA63D9}" dt="2022-09-02T15:02:16.710" v="2954" actId="478"/>
          <ac:spMkLst>
            <pc:docMk/>
            <pc:sldMk cId="393310680" sldId="264"/>
            <ac:spMk id="10" creationId="{63E6CEB2-3085-4368-8D96-C82F76C4A722}"/>
          </ac:spMkLst>
        </pc:spChg>
        <pc:spChg chg="add mod">
          <ac:chgData name="Degroote,Dr.,Matthias (QC) BIM-NL-A" userId="41b105fd-0c60-4b73-9c68-f6bd9a3e273d" providerId="ADAL" clId="{EF0C7939-7608-4B49-B2D7-7F93E6CA63D9}" dt="2022-09-05T22:01:38.014" v="23073" actId="14100"/>
          <ac:spMkLst>
            <pc:docMk/>
            <pc:sldMk cId="393310680" sldId="264"/>
            <ac:spMk id="13" creationId="{DF54B110-F389-4A5B-AD26-2739E3B16507}"/>
          </ac:spMkLst>
        </pc:spChg>
        <pc:picChg chg="add mod">
          <ac:chgData name="Degroote,Dr.,Matthias (QC) BIM-NL-A" userId="41b105fd-0c60-4b73-9c68-f6bd9a3e273d" providerId="ADAL" clId="{EF0C7939-7608-4B49-B2D7-7F93E6CA63D9}" dt="2022-09-02T17:25:02.826" v="4032" actId="962"/>
          <ac:picMkLst>
            <pc:docMk/>
            <pc:sldMk cId="393310680" sldId="264"/>
            <ac:picMk id="12" creationId="{575BB4B0-3A37-4413-AD02-7CFC5D4EF926}"/>
          </ac:picMkLst>
        </pc:picChg>
        <pc:picChg chg="add del mod">
          <ac:chgData name="Degroote,Dr.,Matthias (QC) BIM-NL-A" userId="41b105fd-0c60-4b73-9c68-f6bd9a3e273d" providerId="ADAL" clId="{EF0C7939-7608-4B49-B2D7-7F93E6CA63D9}" dt="2022-09-02T14:36:55.635" v="2566"/>
          <ac:picMkLst>
            <pc:docMk/>
            <pc:sldMk cId="393310680" sldId="264"/>
            <ac:picMk id="1026" creationId="{997B3773-60BF-4E27-A302-80972E937071}"/>
          </ac:picMkLst>
        </pc:picChg>
        <pc:picChg chg="add del mod">
          <ac:chgData name="Degroote,Dr.,Matthias (QC) BIM-NL-A" userId="41b105fd-0c60-4b73-9c68-f6bd9a3e273d" providerId="ADAL" clId="{EF0C7939-7608-4B49-B2D7-7F93E6CA63D9}" dt="2022-09-02T14:57:46.249" v="2864" actId="478"/>
          <ac:picMkLst>
            <pc:docMk/>
            <pc:sldMk cId="393310680" sldId="264"/>
            <ac:picMk id="1028" creationId="{AF0F225E-C0CE-4BEF-A38A-6C9315809755}"/>
          </ac:picMkLst>
        </pc:picChg>
      </pc:sldChg>
      <pc:sldChg chg="modSp del mod">
        <pc:chgData name="Degroote,Dr.,Matthias (QC) BIM-NL-A" userId="41b105fd-0c60-4b73-9c68-f6bd9a3e273d" providerId="ADAL" clId="{EF0C7939-7608-4B49-B2D7-7F93E6CA63D9}" dt="2022-09-05T20:37:52.620" v="16172" actId="47"/>
        <pc:sldMkLst>
          <pc:docMk/>
          <pc:sldMk cId="2664806953" sldId="265"/>
        </pc:sldMkLst>
        <pc:spChg chg="mod">
          <ac:chgData name="Degroote,Dr.,Matthias (QC) BIM-NL-A" userId="41b105fd-0c60-4b73-9c68-f6bd9a3e273d" providerId="ADAL" clId="{EF0C7939-7608-4B49-B2D7-7F93E6CA63D9}" dt="2022-09-04T20:17:55.473" v="11100" actId="20577"/>
          <ac:spMkLst>
            <pc:docMk/>
            <pc:sldMk cId="2664806953" sldId="265"/>
            <ac:spMk id="2" creationId="{E41826DB-AE34-444F-8589-E97369A11BED}"/>
          </ac:spMkLst>
        </pc:spChg>
      </pc:sldChg>
      <pc:sldChg chg="modSp del mod">
        <pc:chgData name="Degroote,Dr.,Matthias (QC) BIM-NL-A" userId="41b105fd-0c60-4b73-9c68-f6bd9a3e273d" providerId="ADAL" clId="{EF0C7939-7608-4B49-B2D7-7F93E6CA63D9}" dt="2022-09-05T19:56:33.714" v="15808" actId="47"/>
        <pc:sldMkLst>
          <pc:docMk/>
          <pc:sldMk cId="3755370335" sldId="266"/>
        </pc:sldMkLst>
        <pc:spChg chg="mod">
          <ac:chgData name="Degroote,Dr.,Matthias (QC) BIM-NL-A" userId="41b105fd-0c60-4b73-9c68-f6bd9a3e273d" providerId="ADAL" clId="{EF0C7939-7608-4B49-B2D7-7F93E6CA63D9}" dt="2022-09-03T18:24:03.354" v="6705" actId="20577"/>
          <ac:spMkLst>
            <pc:docMk/>
            <pc:sldMk cId="3755370335" sldId="266"/>
            <ac:spMk id="2" creationId="{D2B9FEB2-3C21-4A73-A231-BFF9A7F694CB}"/>
          </ac:spMkLst>
        </pc:spChg>
      </pc:sldChg>
      <pc:sldChg chg="delSp modSp mod">
        <pc:chgData name="Degroote,Dr.,Matthias (QC) BIM-NL-A" userId="41b105fd-0c60-4b73-9c68-f6bd9a3e273d" providerId="ADAL" clId="{EF0C7939-7608-4B49-B2D7-7F93E6CA63D9}" dt="2022-09-09T06:18:23.530" v="28619" actId="1076"/>
        <pc:sldMkLst>
          <pc:docMk/>
          <pc:sldMk cId="767045812" sldId="267"/>
        </pc:sldMkLst>
        <pc:spChg chg="mod">
          <ac:chgData name="Degroote,Dr.,Matthias (QC) BIM-NL-A" userId="41b105fd-0c60-4b73-9c68-f6bd9a3e273d" providerId="ADAL" clId="{EF0C7939-7608-4B49-B2D7-7F93E6CA63D9}" dt="2022-09-09T06:18:23.530" v="28619" actId="1076"/>
          <ac:spMkLst>
            <pc:docMk/>
            <pc:sldMk cId="767045812" sldId="267"/>
            <ac:spMk id="2" creationId="{1AB2DCFA-BDEF-4D45-992C-7A95E307BCFF}"/>
          </ac:spMkLst>
        </pc:spChg>
        <pc:spChg chg="del">
          <ac:chgData name="Degroote,Dr.,Matthias (QC) BIM-NL-A" userId="41b105fd-0c60-4b73-9c68-f6bd9a3e273d" providerId="ADAL" clId="{EF0C7939-7608-4B49-B2D7-7F93E6CA63D9}" dt="2022-09-05T22:00:49.382" v="23065" actId="478"/>
          <ac:spMkLst>
            <pc:docMk/>
            <pc:sldMk cId="767045812" sldId="267"/>
            <ac:spMk id="3" creationId="{5EA7FC87-C2F0-4FB2-A52B-F96D2AC61403}"/>
          </ac:spMkLst>
        </pc:spChg>
        <pc:spChg chg="mod">
          <ac:chgData name="Degroote,Dr.,Matthias (QC) BIM-NL-A" userId="41b105fd-0c60-4b73-9c68-f6bd9a3e273d" providerId="ADAL" clId="{EF0C7939-7608-4B49-B2D7-7F93E6CA63D9}" dt="2022-09-03T22:05:18.692" v="10071" actId="20577"/>
          <ac:spMkLst>
            <pc:docMk/>
            <pc:sldMk cId="767045812" sldId="267"/>
            <ac:spMk id="5" creationId="{913376AE-22E5-4E38-863B-8214F7C82D90}"/>
          </ac:spMkLst>
        </pc:spChg>
      </pc:sldChg>
      <pc:sldChg chg="delSp modSp del mod">
        <pc:chgData name="Degroote,Dr.,Matthias (QC) BIM-NL-A" userId="41b105fd-0c60-4b73-9c68-f6bd9a3e273d" providerId="ADAL" clId="{EF0C7939-7608-4B49-B2D7-7F93E6CA63D9}" dt="2022-09-05T12:41:35.554" v="13781" actId="47"/>
        <pc:sldMkLst>
          <pc:docMk/>
          <pc:sldMk cId="2942245632" sldId="268"/>
        </pc:sldMkLst>
        <pc:spChg chg="mod">
          <ac:chgData name="Degroote,Dr.,Matthias (QC) BIM-NL-A" userId="41b105fd-0c60-4b73-9c68-f6bd9a3e273d" providerId="ADAL" clId="{EF0C7939-7608-4B49-B2D7-7F93E6CA63D9}" dt="2022-09-03T18:22:48.227" v="6654" actId="20577"/>
          <ac:spMkLst>
            <pc:docMk/>
            <pc:sldMk cId="2942245632" sldId="268"/>
            <ac:spMk id="2" creationId="{372A9E81-DDB2-4F6A-A81F-5A85676E0989}"/>
          </ac:spMkLst>
        </pc:spChg>
        <pc:spChg chg="del">
          <ac:chgData name="Degroote,Dr.,Matthias (QC) BIM-NL-A" userId="41b105fd-0c60-4b73-9c68-f6bd9a3e273d" providerId="ADAL" clId="{EF0C7939-7608-4B49-B2D7-7F93E6CA63D9}" dt="2022-09-05T12:41:02.973" v="13779" actId="478"/>
          <ac:spMkLst>
            <pc:docMk/>
            <pc:sldMk cId="2942245632" sldId="268"/>
            <ac:spMk id="3" creationId="{D2DF35A7-3CA2-454F-9755-CE04B0D2572D}"/>
          </ac:spMkLst>
        </pc:spChg>
        <pc:spChg chg="mod">
          <ac:chgData name="Degroote,Dr.,Matthias (QC) BIM-NL-A" userId="41b105fd-0c60-4b73-9c68-f6bd9a3e273d" providerId="ADAL" clId="{EF0C7939-7608-4B49-B2D7-7F93E6CA63D9}" dt="2022-09-04T20:16:56.042" v="11071" actId="20577"/>
          <ac:spMkLst>
            <pc:docMk/>
            <pc:sldMk cId="2942245632" sldId="268"/>
            <ac:spMk id="5" creationId="{5AEC52B3-03EF-4FD3-B65D-95CD4C3AB4EE}"/>
          </ac:spMkLst>
        </pc:spChg>
      </pc:sldChg>
      <pc:sldChg chg="addSp delSp modSp add mod">
        <pc:chgData name="Degroote,Dr.,Matthias (QC) BIM-NL-A" userId="41b105fd-0c60-4b73-9c68-f6bd9a3e273d" providerId="ADAL" clId="{EF0C7939-7608-4B49-B2D7-7F93E6CA63D9}" dt="2022-09-05T22:31:36.796" v="23746" actId="20577"/>
        <pc:sldMkLst>
          <pc:docMk/>
          <pc:sldMk cId="155074415" sldId="269"/>
        </pc:sldMkLst>
        <pc:spChg chg="add mod">
          <ac:chgData name="Degroote,Dr.,Matthias (QC) BIM-NL-A" userId="41b105fd-0c60-4b73-9c68-f6bd9a3e273d" providerId="ADAL" clId="{EF0C7939-7608-4B49-B2D7-7F93E6CA63D9}" dt="2022-09-05T22:31:18.868" v="23730" actId="20577"/>
          <ac:spMkLst>
            <pc:docMk/>
            <pc:sldMk cId="155074415" sldId="269"/>
            <ac:spMk id="3" creationId="{99D65627-B51E-4E9B-A3DD-C153CECBBC02}"/>
          </ac:spMkLst>
        </pc:spChg>
        <pc:spChg chg="add del mod">
          <ac:chgData name="Degroote,Dr.,Matthias (QC) BIM-NL-A" userId="41b105fd-0c60-4b73-9c68-f6bd9a3e273d" providerId="ADAL" clId="{EF0C7939-7608-4B49-B2D7-7F93E6CA63D9}" dt="2022-09-05T22:20:28.252" v="23150" actId="478"/>
          <ac:spMkLst>
            <pc:docMk/>
            <pc:sldMk cId="155074415" sldId="269"/>
            <ac:spMk id="4" creationId="{450ACD93-7E01-4FEE-949B-24B6A30DF0BB}"/>
          </ac:spMkLst>
        </pc:spChg>
        <pc:spChg chg="mod">
          <ac:chgData name="Degroote,Dr.,Matthias (QC) BIM-NL-A" userId="41b105fd-0c60-4b73-9c68-f6bd9a3e273d" providerId="ADAL" clId="{EF0C7939-7608-4B49-B2D7-7F93E6CA63D9}" dt="2022-09-05T22:31:36.796" v="23746" actId="20577"/>
          <ac:spMkLst>
            <pc:docMk/>
            <pc:sldMk cId="155074415" sldId="269"/>
            <ac:spMk id="5" creationId="{8CD5524B-202E-439D-ACEC-55946B0598B4}"/>
          </ac:spMkLst>
        </pc:spChg>
        <pc:spChg chg="del mod">
          <ac:chgData name="Degroote,Dr.,Matthias (QC) BIM-NL-A" userId="41b105fd-0c60-4b73-9c68-f6bd9a3e273d" providerId="ADAL" clId="{EF0C7939-7608-4B49-B2D7-7F93E6CA63D9}" dt="2022-09-05T22:20:14.532" v="23146" actId="478"/>
          <ac:spMkLst>
            <pc:docMk/>
            <pc:sldMk cId="155074415" sldId="269"/>
            <ac:spMk id="6" creationId="{45EDCE02-D42F-4816-B84F-1D3C60508B6F}"/>
          </ac:spMkLst>
        </pc:spChg>
      </pc:sldChg>
      <pc:sldChg chg="addSp delSp modSp new mod ord modAnim modNotesTx">
        <pc:chgData name="Degroote,Dr.,Matthias (QC) BIM-NL-A" userId="41b105fd-0c60-4b73-9c68-f6bd9a3e273d" providerId="ADAL" clId="{EF0C7939-7608-4B49-B2D7-7F93E6CA63D9}" dt="2022-09-09T00:55:15.314" v="26681" actId="20577"/>
        <pc:sldMkLst>
          <pc:docMk/>
          <pc:sldMk cId="2139873870" sldId="270"/>
        </pc:sldMkLst>
        <pc:spChg chg="del mod">
          <ac:chgData name="Degroote,Dr.,Matthias (QC) BIM-NL-A" userId="41b105fd-0c60-4b73-9c68-f6bd9a3e273d" providerId="ADAL" clId="{EF0C7939-7608-4B49-B2D7-7F93E6CA63D9}" dt="2022-09-02T12:33:02.680" v="968" actId="478"/>
          <ac:spMkLst>
            <pc:docMk/>
            <pc:sldMk cId="2139873870" sldId="270"/>
            <ac:spMk id="2" creationId="{82673B05-EEC7-4328-B565-35671C066075}"/>
          </ac:spMkLst>
        </pc:spChg>
        <pc:spChg chg="del">
          <ac:chgData name="Degroote,Dr.,Matthias (QC) BIM-NL-A" userId="41b105fd-0c60-4b73-9c68-f6bd9a3e273d" providerId="ADAL" clId="{EF0C7939-7608-4B49-B2D7-7F93E6CA63D9}" dt="2022-09-02T14:41:07.932" v="2806" actId="478"/>
          <ac:spMkLst>
            <pc:docMk/>
            <pc:sldMk cId="2139873870" sldId="270"/>
            <ac:spMk id="3" creationId="{26979A74-8ECB-4D8F-8BBB-42093BAB1D1C}"/>
          </ac:spMkLst>
        </pc:spChg>
        <pc:spChg chg="mod">
          <ac:chgData name="Degroote,Dr.,Matthias (QC) BIM-NL-A" userId="41b105fd-0c60-4b73-9c68-f6bd9a3e273d" providerId="ADAL" clId="{EF0C7939-7608-4B49-B2D7-7F93E6CA63D9}" dt="2022-09-09T00:55:15.314" v="26681" actId="20577"/>
          <ac:spMkLst>
            <pc:docMk/>
            <pc:sldMk cId="2139873870" sldId="270"/>
            <ac:spMk id="5" creationId="{C3BBF021-20AD-4685-AF60-6EF3D9FF377A}"/>
          </ac:spMkLst>
        </pc:spChg>
        <pc:spChg chg="add del mod">
          <ac:chgData name="Degroote,Dr.,Matthias (QC) BIM-NL-A" userId="41b105fd-0c60-4b73-9c68-f6bd9a3e273d" providerId="ADAL" clId="{EF0C7939-7608-4B49-B2D7-7F93E6CA63D9}" dt="2022-09-02T12:33:06.467" v="969" actId="478"/>
          <ac:spMkLst>
            <pc:docMk/>
            <pc:sldMk cId="2139873870" sldId="270"/>
            <ac:spMk id="8" creationId="{E3E95541-7FEC-4870-9E5A-3703B22025D5}"/>
          </ac:spMkLst>
        </pc:spChg>
        <pc:spChg chg="add mod">
          <ac:chgData name="Degroote,Dr.,Matthias (QC) BIM-NL-A" userId="41b105fd-0c60-4b73-9c68-f6bd9a3e273d" providerId="ADAL" clId="{EF0C7939-7608-4B49-B2D7-7F93E6CA63D9}" dt="2022-09-02T13:01:59.039" v="1867" actId="12788"/>
          <ac:spMkLst>
            <pc:docMk/>
            <pc:sldMk cId="2139873870" sldId="270"/>
            <ac:spMk id="9" creationId="{B66217D9-7420-4A89-A6CA-81F6070FCEBF}"/>
          </ac:spMkLst>
        </pc:spChg>
        <pc:picChg chg="add mod">
          <ac:chgData name="Degroote,Dr.,Matthias (QC) BIM-NL-A" userId="41b105fd-0c60-4b73-9c68-f6bd9a3e273d" providerId="ADAL" clId="{EF0C7939-7608-4B49-B2D7-7F93E6CA63D9}" dt="2022-09-02T17:26:28.757" v="4676" actId="962"/>
          <ac:picMkLst>
            <pc:docMk/>
            <pc:sldMk cId="2139873870" sldId="270"/>
            <ac:picMk id="6" creationId="{1FBDC610-2E95-48A5-A0CC-8647BD1F5665}"/>
          </ac:picMkLst>
        </pc:picChg>
      </pc:sldChg>
      <pc:sldChg chg="addSp delSp modSp new mod">
        <pc:chgData name="Degroote,Dr.,Matthias (QC) BIM-NL-A" userId="41b105fd-0c60-4b73-9c68-f6bd9a3e273d" providerId="ADAL" clId="{EF0C7939-7608-4B49-B2D7-7F93E6CA63D9}" dt="2022-09-09T00:41:27.396" v="25658" actId="1076"/>
        <pc:sldMkLst>
          <pc:docMk/>
          <pc:sldMk cId="1172498436" sldId="271"/>
        </pc:sldMkLst>
        <pc:spChg chg="del">
          <ac:chgData name="Degroote,Dr.,Matthias (QC) BIM-NL-A" userId="41b105fd-0c60-4b73-9c68-f6bd9a3e273d" providerId="ADAL" clId="{EF0C7939-7608-4B49-B2D7-7F93E6CA63D9}" dt="2022-09-09T00:33:36.399" v="25598" actId="478"/>
          <ac:spMkLst>
            <pc:docMk/>
            <pc:sldMk cId="1172498436" sldId="271"/>
            <ac:spMk id="2" creationId="{2626AE0B-9B09-4509-85EB-9A7E105C29AB}"/>
          </ac:spMkLst>
        </pc:spChg>
        <pc:spChg chg="mod">
          <ac:chgData name="Degroote,Dr.,Matthias (QC) BIM-NL-A" userId="41b105fd-0c60-4b73-9c68-f6bd9a3e273d" providerId="ADAL" clId="{EF0C7939-7608-4B49-B2D7-7F93E6CA63D9}" dt="2022-09-02T12:02:16.668" v="697" actId="20577"/>
          <ac:spMkLst>
            <pc:docMk/>
            <pc:sldMk cId="1172498436" sldId="271"/>
            <ac:spMk id="5" creationId="{24D7E7BB-AE4C-4663-ADDA-C3C34F53C174}"/>
          </ac:spMkLst>
        </pc:spChg>
        <pc:spChg chg="add mod">
          <ac:chgData name="Degroote,Dr.,Matthias (QC) BIM-NL-A" userId="41b105fd-0c60-4b73-9c68-f6bd9a3e273d" providerId="ADAL" clId="{EF0C7939-7608-4B49-B2D7-7F93E6CA63D9}" dt="2022-09-09T00:41:27.396" v="25658" actId="1076"/>
          <ac:spMkLst>
            <pc:docMk/>
            <pc:sldMk cId="1172498436" sldId="271"/>
            <ac:spMk id="14" creationId="{87ACEAEE-1E06-49BC-80FF-59DD113908D9}"/>
          </ac:spMkLst>
        </pc:spChg>
        <pc:picChg chg="add mod">
          <ac:chgData name="Degroote,Dr.,Matthias (QC) BIM-NL-A" userId="41b105fd-0c60-4b73-9c68-f6bd9a3e273d" providerId="ADAL" clId="{EF0C7939-7608-4B49-B2D7-7F93E6CA63D9}" dt="2022-09-09T00:41:22.623" v="25657" actId="1076"/>
          <ac:picMkLst>
            <pc:docMk/>
            <pc:sldMk cId="1172498436" sldId="271"/>
            <ac:picMk id="7" creationId="{2C8001F1-5FCC-4D00-80E9-24813DAFC446}"/>
          </ac:picMkLst>
        </pc:picChg>
        <pc:picChg chg="add mod">
          <ac:chgData name="Degroote,Dr.,Matthias (QC) BIM-NL-A" userId="41b105fd-0c60-4b73-9c68-f6bd9a3e273d" providerId="ADAL" clId="{EF0C7939-7608-4B49-B2D7-7F93E6CA63D9}" dt="2022-09-09T00:36:37.247" v="25605" actId="1076"/>
          <ac:picMkLst>
            <pc:docMk/>
            <pc:sldMk cId="1172498436" sldId="271"/>
            <ac:picMk id="9" creationId="{2914018F-249B-4B30-914D-C686063A7810}"/>
          </ac:picMkLst>
        </pc:picChg>
        <pc:picChg chg="add mod">
          <ac:chgData name="Degroote,Dr.,Matthias (QC) BIM-NL-A" userId="41b105fd-0c60-4b73-9c68-f6bd9a3e273d" providerId="ADAL" clId="{EF0C7939-7608-4B49-B2D7-7F93E6CA63D9}" dt="2022-09-09T00:36:45.637" v="25608" actId="1076"/>
          <ac:picMkLst>
            <pc:docMk/>
            <pc:sldMk cId="1172498436" sldId="271"/>
            <ac:picMk id="11" creationId="{A600E3CD-0DAF-4230-9956-B7DA64785264}"/>
          </ac:picMkLst>
        </pc:picChg>
        <pc:picChg chg="add mod">
          <ac:chgData name="Degroote,Dr.,Matthias (QC) BIM-NL-A" userId="41b105fd-0c60-4b73-9c68-f6bd9a3e273d" providerId="ADAL" clId="{EF0C7939-7608-4B49-B2D7-7F93E6CA63D9}" dt="2022-09-09T00:37:09.731" v="25611" actId="1076"/>
          <ac:picMkLst>
            <pc:docMk/>
            <pc:sldMk cId="1172498436" sldId="271"/>
            <ac:picMk id="13" creationId="{49EE69BE-36FB-4C26-9A7E-BA1BF86E9783}"/>
          </ac:picMkLst>
        </pc:picChg>
      </pc:sldChg>
      <pc:sldChg chg="modSp add mod ord">
        <pc:chgData name="Degroote,Dr.,Matthias (QC) BIM-NL-A" userId="41b105fd-0c60-4b73-9c68-f6bd9a3e273d" providerId="ADAL" clId="{EF0C7939-7608-4B49-B2D7-7F93E6CA63D9}" dt="2022-09-05T20:17:23.555" v="15841" actId="6549"/>
        <pc:sldMkLst>
          <pc:docMk/>
          <pc:sldMk cId="257863481" sldId="272"/>
        </pc:sldMkLst>
        <pc:spChg chg="mod">
          <ac:chgData name="Degroote,Dr.,Matthias (QC) BIM-NL-A" userId="41b105fd-0c60-4b73-9c68-f6bd9a3e273d" providerId="ADAL" clId="{EF0C7939-7608-4B49-B2D7-7F93E6CA63D9}" dt="2022-09-02T12:02:02.965" v="666" actId="20577"/>
          <ac:spMkLst>
            <pc:docMk/>
            <pc:sldMk cId="257863481" sldId="272"/>
            <ac:spMk id="2" creationId="{00000000-0000-0000-0000-000000000000}"/>
          </ac:spMkLst>
        </pc:spChg>
        <pc:spChg chg="mod">
          <ac:chgData name="Degroote,Dr.,Matthias (QC) BIM-NL-A" userId="41b105fd-0c60-4b73-9c68-f6bd9a3e273d" providerId="ADAL" clId="{EF0C7939-7608-4B49-B2D7-7F93E6CA63D9}" dt="2022-09-05T20:17:23.555" v="15841" actId="6549"/>
          <ac:spMkLst>
            <pc:docMk/>
            <pc:sldMk cId="257863481" sldId="272"/>
            <ac:spMk id="3" creationId="{00000000-0000-0000-0000-000000000000}"/>
          </ac:spMkLst>
        </pc:spChg>
      </pc:sldChg>
      <pc:sldChg chg="addSp delSp modSp add mod">
        <pc:chgData name="Degroote,Dr.,Matthias (QC) BIM-NL-A" userId="41b105fd-0c60-4b73-9c68-f6bd9a3e273d" providerId="ADAL" clId="{EF0C7939-7608-4B49-B2D7-7F93E6CA63D9}" dt="2022-09-09T06:15:40.603" v="27762" actId="962"/>
        <pc:sldMkLst>
          <pc:docMk/>
          <pc:sldMk cId="78540646" sldId="273"/>
        </pc:sldMkLst>
        <pc:spChg chg="del">
          <ac:chgData name="Degroote,Dr.,Matthias (QC) BIM-NL-A" userId="41b105fd-0c60-4b73-9c68-f6bd9a3e273d" providerId="ADAL" clId="{EF0C7939-7608-4B49-B2D7-7F93E6CA63D9}" dt="2022-09-09T00:20:53.884" v="25142" actId="22"/>
          <ac:spMkLst>
            <pc:docMk/>
            <pc:sldMk cId="78540646" sldId="273"/>
            <ac:spMk id="2" creationId="{2626AE0B-9B09-4509-85EB-9A7E105C29AB}"/>
          </ac:spMkLst>
        </pc:spChg>
        <pc:spChg chg="add mod">
          <ac:chgData name="Degroote,Dr.,Matthias (QC) BIM-NL-A" userId="41b105fd-0c60-4b73-9c68-f6bd9a3e273d" providerId="ADAL" clId="{EF0C7939-7608-4B49-B2D7-7F93E6CA63D9}" dt="2022-09-09T06:14:03.584" v="27188" actId="1076"/>
          <ac:spMkLst>
            <pc:docMk/>
            <pc:sldMk cId="78540646" sldId="273"/>
            <ac:spMk id="2" creationId="{F7C266A2-2FB1-4533-A5D5-0981607CAEB2}"/>
          </ac:spMkLst>
        </pc:spChg>
        <pc:spChg chg="del">
          <ac:chgData name="Degroote,Dr.,Matthias (QC) BIM-NL-A" userId="41b105fd-0c60-4b73-9c68-f6bd9a3e273d" providerId="ADAL" clId="{EF0C7939-7608-4B49-B2D7-7F93E6CA63D9}" dt="2022-09-09T00:25:53.655" v="25143" actId="478"/>
          <ac:spMkLst>
            <pc:docMk/>
            <pc:sldMk cId="78540646" sldId="273"/>
            <ac:spMk id="3" creationId="{634D6D8B-D276-4E1E-9214-94ED6B33C679}"/>
          </ac:spMkLst>
        </pc:spChg>
        <pc:spChg chg="mod">
          <ac:chgData name="Degroote,Dr.,Matthias (QC) BIM-NL-A" userId="41b105fd-0c60-4b73-9c68-f6bd9a3e273d" providerId="ADAL" clId="{EF0C7939-7608-4B49-B2D7-7F93E6CA63D9}" dt="2022-09-02T12:02:29.340" v="742" actId="20577"/>
          <ac:spMkLst>
            <pc:docMk/>
            <pc:sldMk cId="78540646" sldId="273"/>
            <ac:spMk id="5" creationId="{24D7E7BB-AE4C-4663-ADDA-C3C34F53C174}"/>
          </ac:spMkLst>
        </pc:spChg>
        <pc:spChg chg="add mod">
          <ac:chgData name="Degroote,Dr.,Matthias (QC) BIM-NL-A" userId="41b105fd-0c60-4b73-9c68-f6bd9a3e273d" providerId="ADAL" clId="{EF0C7939-7608-4B49-B2D7-7F93E6CA63D9}" dt="2022-09-09T06:08:28.221" v="26702" actId="1076"/>
          <ac:spMkLst>
            <pc:docMk/>
            <pc:sldMk cId="78540646" sldId="273"/>
            <ac:spMk id="8" creationId="{01CBB079-4566-474E-BAB8-13E657EB6E8D}"/>
          </ac:spMkLst>
        </pc:spChg>
        <pc:spChg chg="add mod">
          <ac:chgData name="Degroote,Dr.,Matthias (QC) BIM-NL-A" userId="41b105fd-0c60-4b73-9c68-f6bd9a3e273d" providerId="ADAL" clId="{EF0C7939-7608-4B49-B2D7-7F93E6CA63D9}" dt="2022-09-09T06:08:42.107" v="26705" actId="1076"/>
          <ac:spMkLst>
            <pc:docMk/>
            <pc:sldMk cId="78540646" sldId="273"/>
            <ac:spMk id="10" creationId="{0907D286-42DD-4BC7-A49B-41298BA77DA5}"/>
          </ac:spMkLst>
        </pc:spChg>
        <pc:picChg chg="add mod ord">
          <ac:chgData name="Degroote,Dr.,Matthias (QC) BIM-NL-A" userId="41b105fd-0c60-4b73-9c68-f6bd9a3e273d" providerId="ADAL" clId="{EF0C7939-7608-4B49-B2D7-7F93E6CA63D9}" dt="2022-09-09T06:15:31.988" v="27700" actId="962"/>
          <ac:picMkLst>
            <pc:docMk/>
            <pc:sldMk cId="78540646" sldId="273"/>
            <ac:picMk id="7" creationId="{C40581E5-D56E-4E63-9E7E-9522840758EE}"/>
          </ac:picMkLst>
        </pc:picChg>
        <pc:picChg chg="add mod">
          <ac:chgData name="Degroote,Dr.,Matthias (QC) BIM-NL-A" userId="41b105fd-0c60-4b73-9c68-f6bd9a3e273d" providerId="ADAL" clId="{EF0C7939-7608-4B49-B2D7-7F93E6CA63D9}" dt="2022-09-09T06:15:40.603" v="27762" actId="962"/>
          <ac:picMkLst>
            <pc:docMk/>
            <pc:sldMk cId="78540646" sldId="273"/>
            <ac:picMk id="2050" creationId="{08F41116-D284-4E06-AB2F-BC1BEAD85450}"/>
          </ac:picMkLst>
        </pc:picChg>
      </pc:sldChg>
      <pc:sldChg chg="addSp delSp modSp add mod">
        <pc:chgData name="Degroote,Dr.,Matthias (QC) BIM-NL-A" userId="41b105fd-0c60-4b73-9c68-f6bd9a3e273d" providerId="ADAL" clId="{EF0C7939-7608-4B49-B2D7-7F93E6CA63D9}" dt="2022-09-09T06:15:00.155" v="27498" actId="962"/>
        <pc:sldMkLst>
          <pc:docMk/>
          <pc:sldMk cId="2247709798" sldId="274"/>
        </pc:sldMkLst>
        <pc:spChg chg="del">
          <ac:chgData name="Degroote,Dr.,Matthias (QC) BIM-NL-A" userId="41b105fd-0c60-4b73-9c68-f6bd9a3e273d" providerId="ADAL" clId="{EF0C7939-7608-4B49-B2D7-7F93E6CA63D9}" dt="2022-09-09T00:37:41.353" v="25639" actId="478"/>
          <ac:spMkLst>
            <pc:docMk/>
            <pc:sldMk cId="2247709798" sldId="274"/>
            <ac:spMk id="2" creationId="{2626AE0B-9B09-4509-85EB-9A7E105C29AB}"/>
          </ac:spMkLst>
        </pc:spChg>
        <pc:spChg chg="mod">
          <ac:chgData name="Degroote,Dr.,Matthias (QC) BIM-NL-A" userId="41b105fd-0c60-4b73-9c68-f6bd9a3e273d" providerId="ADAL" clId="{EF0C7939-7608-4B49-B2D7-7F93E6CA63D9}" dt="2022-09-09T00:37:36.820" v="25638" actId="20577"/>
          <ac:spMkLst>
            <pc:docMk/>
            <pc:sldMk cId="2247709798" sldId="274"/>
            <ac:spMk id="5" creationId="{24D7E7BB-AE4C-4663-ADDA-C3C34F53C174}"/>
          </ac:spMkLst>
        </pc:spChg>
        <pc:spChg chg="add mod">
          <ac:chgData name="Degroote,Dr.,Matthias (QC) BIM-NL-A" userId="41b105fd-0c60-4b73-9c68-f6bd9a3e273d" providerId="ADAL" clId="{EF0C7939-7608-4B49-B2D7-7F93E6CA63D9}" dt="2022-09-09T00:41:11.492" v="25655" actId="1076"/>
          <ac:spMkLst>
            <pc:docMk/>
            <pc:sldMk cId="2247709798" sldId="274"/>
            <ac:spMk id="10" creationId="{47F66211-D97F-42D7-934B-637A38DCD436}"/>
          </ac:spMkLst>
        </pc:spChg>
        <pc:picChg chg="add mod">
          <ac:chgData name="Degroote,Dr.,Matthias (QC) BIM-NL-A" userId="41b105fd-0c60-4b73-9c68-f6bd9a3e273d" providerId="ADAL" clId="{EF0C7939-7608-4B49-B2D7-7F93E6CA63D9}" dt="2022-09-09T06:15:00.155" v="27498" actId="962"/>
          <ac:picMkLst>
            <pc:docMk/>
            <pc:sldMk cId="2247709798" sldId="274"/>
            <ac:picMk id="7" creationId="{E30CAF60-B0DF-4A9E-84B8-97F02AE77D8C}"/>
          </ac:picMkLst>
        </pc:picChg>
        <pc:picChg chg="add mod">
          <ac:chgData name="Degroote,Dr.,Matthias (QC) BIM-NL-A" userId="41b105fd-0c60-4b73-9c68-f6bd9a3e273d" providerId="ADAL" clId="{EF0C7939-7608-4B49-B2D7-7F93E6CA63D9}" dt="2022-09-09T00:40:53.489" v="25653" actId="1076"/>
          <ac:picMkLst>
            <pc:docMk/>
            <pc:sldMk cId="2247709798" sldId="274"/>
            <ac:picMk id="9" creationId="{88FB079C-6187-478B-8A60-2C7D80A3D9EB}"/>
          </ac:picMkLst>
        </pc:picChg>
      </pc:sldChg>
      <pc:sldChg chg="addSp delSp modSp add mod">
        <pc:chgData name="Degroote,Dr.,Matthias (QC) BIM-NL-A" userId="41b105fd-0c60-4b73-9c68-f6bd9a3e273d" providerId="ADAL" clId="{EF0C7939-7608-4B49-B2D7-7F93E6CA63D9}" dt="2022-09-02T15:11:28.113" v="3196" actId="478"/>
        <pc:sldMkLst>
          <pc:docMk/>
          <pc:sldMk cId="2786797090" sldId="275"/>
        </pc:sldMkLst>
        <pc:spChg chg="mod">
          <ac:chgData name="Degroote,Dr.,Matthias (QC) BIM-NL-A" userId="41b105fd-0c60-4b73-9c68-f6bd9a3e273d" providerId="ADAL" clId="{EF0C7939-7608-4B49-B2D7-7F93E6CA63D9}" dt="2022-09-02T14:43:11.871" v="2858" actId="20577"/>
          <ac:spMkLst>
            <pc:docMk/>
            <pc:sldMk cId="2786797090" sldId="275"/>
            <ac:spMk id="2" creationId="{82673B05-EEC7-4328-B565-35671C066075}"/>
          </ac:spMkLst>
        </pc:spChg>
        <pc:spChg chg="del">
          <ac:chgData name="Degroote,Dr.,Matthias (QC) BIM-NL-A" userId="41b105fd-0c60-4b73-9c68-f6bd9a3e273d" providerId="ADAL" clId="{EF0C7939-7608-4B49-B2D7-7F93E6CA63D9}" dt="2022-09-02T14:41:11.084" v="2807" actId="478"/>
          <ac:spMkLst>
            <pc:docMk/>
            <pc:sldMk cId="2786797090" sldId="275"/>
            <ac:spMk id="3" creationId="{26979A74-8ECB-4D8F-8BBB-42093BAB1D1C}"/>
          </ac:spMkLst>
        </pc:spChg>
        <pc:spChg chg="mod">
          <ac:chgData name="Degroote,Dr.,Matthias (QC) BIM-NL-A" userId="41b105fd-0c60-4b73-9c68-f6bd9a3e273d" providerId="ADAL" clId="{EF0C7939-7608-4B49-B2D7-7F93E6CA63D9}" dt="2022-09-02T12:47:36.629" v="1332" actId="20577"/>
          <ac:spMkLst>
            <pc:docMk/>
            <pc:sldMk cId="2786797090" sldId="275"/>
            <ac:spMk id="5" creationId="{C3BBF021-20AD-4685-AF60-6EF3D9FF377A}"/>
          </ac:spMkLst>
        </pc:spChg>
        <pc:spChg chg="add mod">
          <ac:chgData name="Degroote,Dr.,Matthias (QC) BIM-NL-A" userId="41b105fd-0c60-4b73-9c68-f6bd9a3e273d" providerId="ADAL" clId="{EF0C7939-7608-4B49-B2D7-7F93E6CA63D9}" dt="2022-09-02T13:01:48.311" v="1865" actId="12788"/>
          <ac:spMkLst>
            <pc:docMk/>
            <pc:sldMk cId="2786797090" sldId="275"/>
            <ac:spMk id="8" creationId="{E2497929-BF94-46F5-81FB-BC65032BB723}"/>
          </ac:spMkLst>
        </pc:spChg>
        <pc:picChg chg="add del mod">
          <ac:chgData name="Degroote,Dr.,Matthias (QC) BIM-NL-A" userId="41b105fd-0c60-4b73-9c68-f6bd9a3e273d" providerId="ADAL" clId="{EF0C7939-7608-4B49-B2D7-7F93E6CA63D9}" dt="2022-09-02T12:56:42.122" v="1672" actId="478"/>
          <ac:picMkLst>
            <pc:docMk/>
            <pc:sldMk cId="2786797090" sldId="275"/>
            <ac:picMk id="7" creationId="{ACCCB54F-27DB-42CC-995C-5F5C95CDC39B}"/>
          </ac:picMkLst>
        </pc:picChg>
        <pc:picChg chg="add del mod">
          <ac:chgData name="Degroote,Dr.,Matthias (QC) BIM-NL-A" userId="41b105fd-0c60-4b73-9c68-f6bd9a3e273d" providerId="ADAL" clId="{EF0C7939-7608-4B49-B2D7-7F93E6CA63D9}" dt="2022-09-02T15:10:55.978" v="3191" actId="478"/>
          <ac:picMkLst>
            <pc:docMk/>
            <pc:sldMk cId="2786797090" sldId="275"/>
            <ac:picMk id="7" creationId="{DEBE61F3-8FB3-48B3-AC19-EF20F177462F}"/>
          </ac:picMkLst>
        </pc:picChg>
        <pc:picChg chg="add del mod">
          <ac:chgData name="Degroote,Dr.,Matthias (QC) BIM-NL-A" userId="41b105fd-0c60-4b73-9c68-f6bd9a3e273d" providerId="ADAL" clId="{EF0C7939-7608-4B49-B2D7-7F93E6CA63D9}" dt="2022-09-02T15:11:28.113" v="3196" actId="478"/>
          <ac:picMkLst>
            <pc:docMk/>
            <pc:sldMk cId="2786797090" sldId="275"/>
            <ac:picMk id="10" creationId="{ADD15C0D-6047-4C6F-864C-7AB5F963CD76}"/>
          </ac:picMkLst>
        </pc:picChg>
      </pc:sldChg>
      <pc:sldChg chg="addSp delSp modSp add mod">
        <pc:chgData name="Degroote,Dr.,Matthias (QC) BIM-NL-A" userId="41b105fd-0c60-4b73-9c68-f6bd9a3e273d" providerId="ADAL" clId="{EF0C7939-7608-4B49-B2D7-7F93E6CA63D9}" dt="2022-09-05T20:36:57.227" v="16167" actId="255"/>
        <pc:sldMkLst>
          <pc:docMk/>
          <pc:sldMk cId="2903728481" sldId="276"/>
        </pc:sldMkLst>
        <pc:spChg chg="mod">
          <ac:chgData name="Degroote,Dr.,Matthias (QC) BIM-NL-A" userId="41b105fd-0c60-4b73-9c68-f6bd9a3e273d" providerId="ADAL" clId="{EF0C7939-7608-4B49-B2D7-7F93E6CA63D9}" dt="2022-09-02T15:07:04.712" v="3145" actId="1076"/>
          <ac:spMkLst>
            <pc:docMk/>
            <pc:sldMk cId="2903728481" sldId="276"/>
            <ac:spMk id="2" creationId="{14BAEA8E-EFB0-4046-BBF8-E29BA7366203}"/>
          </ac:spMkLst>
        </pc:spChg>
        <pc:spChg chg="add del mod">
          <ac:chgData name="Degroote,Dr.,Matthias (QC) BIM-NL-A" userId="41b105fd-0c60-4b73-9c68-f6bd9a3e273d" providerId="ADAL" clId="{EF0C7939-7608-4B49-B2D7-7F93E6CA63D9}" dt="2022-09-05T20:36:57.227" v="16167" actId="255"/>
          <ac:spMkLst>
            <pc:docMk/>
            <pc:sldMk cId="2903728481" sldId="276"/>
            <ac:spMk id="4" creationId="{21721927-0768-42A2-8847-F4796F489F83}"/>
          </ac:spMkLst>
        </pc:spChg>
        <pc:spChg chg="del mod">
          <ac:chgData name="Degroote,Dr.,Matthias (QC) BIM-NL-A" userId="41b105fd-0c60-4b73-9c68-f6bd9a3e273d" providerId="ADAL" clId="{EF0C7939-7608-4B49-B2D7-7F93E6CA63D9}" dt="2022-09-02T15:04:47.530" v="3107" actId="478"/>
          <ac:spMkLst>
            <pc:docMk/>
            <pc:sldMk cId="2903728481" sldId="276"/>
            <ac:spMk id="6" creationId="{45EDCE02-D42F-4816-B84F-1D3C60508B6F}"/>
          </ac:spMkLst>
        </pc:spChg>
        <pc:spChg chg="add del mod">
          <ac:chgData name="Degroote,Dr.,Matthias (QC) BIM-NL-A" userId="41b105fd-0c60-4b73-9c68-f6bd9a3e273d" providerId="ADAL" clId="{EF0C7939-7608-4B49-B2D7-7F93E6CA63D9}" dt="2022-09-02T15:04:57.917" v="3110" actId="478"/>
          <ac:spMkLst>
            <pc:docMk/>
            <pc:sldMk cId="2903728481" sldId="276"/>
            <ac:spMk id="7" creationId="{20B87AFB-4701-4B7B-B21A-7FC3C9FB72D5}"/>
          </ac:spMkLst>
        </pc:spChg>
        <pc:spChg chg="add del">
          <ac:chgData name="Degroote,Dr.,Matthias (QC) BIM-NL-A" userId="41b105fd-0c60-4b73-9c68-f6bd9a3e273d" providerId="ADAL" clId="{EF0C7939-7608-4B49-B2D7-7F93E6CA63D9}" dt="2022-09-02T15:05:26.399" v="3120"/>
          <ac:spMkLst>
            <pc:docMk/>
            <pc:sldMk cId="2903728481" sldId="276"/>
            <ac:spMk id="8" creationId="{E2CACC34-3C94-417C-860D-BE391652E70F}"/>
          </ac:spMkLst>
        </pc:spChg>
        <pc:spChg chg="add mod">
          <ac:chgData name="Degroote,Dr.,Matthias (QC) BIM-NL-A" userId="41b105fd-0c60-4b73-9c68-f6bd9a3e273d" providerId="ADAL" clId="{EF0C7939-7608-4B49-B2D7-7F93E6CA63D9}" dt="2022-09-02T17:22:01.399" v="3198" actId="114"/>
          <ac:spMkLst>
            <pc:docMk/>
            <pc:sldMk cId="2903728481" sldId="276"/>
            <ac:spMk id="12" creationId="{AF8649D6-92BE-4742-9E43-A356F8B49BD3}"/>
          </ac:spMkLst>
        </pc:spChg>
        <pc:picChg chg="add mod">
          <ac:chgData name="Degroote,Dr.,Matthias (QC) BIM-NL-A" userId="41b105fd-0c60-4b73-9c68-f6bd9a3e273d" providerId="ADAL" clId="{EF0C7939-7608-4B49-B2D7-7F93E6CA63D9}" dt="2022-09-02T17:28:34.746" v="5522" actId="962"/>
          <ac:picMkLst>
            <pc:docMk/>
            <pc:sldMk cId="2903728481" sldId="276"/>
            <ac:picMk id="10" creationId="{BF47E713-8538-46DA-9414-49B96A604181}"/>
          </ac:picMkLst>
        </pc:picChg>
        <pc:picChg chg="add del mod">
          <ac:chgData name="Degroote,Dr.,Matthias (QC) BIM-NL-A" userId="41b105fd-0c60-4b73-9c68-f6bd9a3e273d" providerId="ADAL" clId="{EF0C7939-7608-4B49-B2D7-7F93E6CA63D9}" dt="2022-09-02T17:30:03.353" v="6472" actId="962"/>
          <ac:picMkLst>
            <pc:docMk/>
            <pc:sldMk cId="2903728481" sldId="276"/>
            <ac:picMk id="1028" creationId="{AF0F225E-C0CE-4BEF-A38A-6C9315809755}"/>
          </ac:picMkLst>
        </pc:picChg>
      </pc:sldChg>
      <pc:sldChg chg="addSp delSp modSp add del mod">
        <pc:chgData name="Degroote,Dr.,Matthias (QC) BIM-NL-A" userId="41b105fd-0c60-4b73-9c68-f6bd9a3e273d" providerId="ADAL" clId="{EF0C7939-7608-4B49-B2D7-7F93E6CA63D9}" dt="2022-09-05T20:35:28.090" v="16164" actId="47"/>
        <pc:sldMkLst>
          <pc:docMk/>
          <pc:sldMk cId="3618206242" sldId="277"/>
        </pc:sldMkLst>
        <pc:spChg chg="mod">
          <ac:chgData name="Degroote,Dr.,Matthias (QC) BIM-NL-A" userId="41b105fd-0c60-4b73-9c68-f6bd9a3e273d" providerId="ADAL" clId="{EF0C7939-7608-4B49-B2D7-7F93E6CA63D9}" dt="2022-09-03T22:17:15.327" v="10972" actId="20577"/>
          <ac:spMkLst>
            <pc:docMk/>
            <pc:sldMk cId="3618206242" sldId="277"/>
            <ac:spMk id="2" creationId="{D2B9FEB2-3C21-4A73-A231-BFF9A7F694CB}"/>
          </ac:spMkLst>
        </pc:spChg>
        <pc:spChg chg="mod">
          <ac:chgData name="Degroote,Dr.,Matthias (QC) BIM-NL-A" userId="41b105fd-0c60-4b73-9c68-f6bd9a3e273d" providerId="ADAL" clId="{EF0C7939-7608-4B49-B2D7-7F93E6CA63D9}" dt="2022-09-03T18:33:13.915" v="6708" actId="20577"/>
          <ac:spMkLst>
            <pc:docMk/>
            <pc:sldMk cId="3618206242" sldId="277"/>
            <ac:spMk id="5" creationId="{A5021E82-E63E-4094-A2C7-22CA0867FD12}"/>
          </ac:spMkLst>
        </pc:spChg>
        <pc:spChg chg="add del mod">
          <ac:chgData name="Degroote,Dr.,Matthias (QC) BIM-NL-A" userId="41b105fd-0c60-4b73-9c68-f6bd9a3e273d" providerId="ADAL" clId="{EF0C7939-7608-4B49-B2D7-7F93E6CA63D9}" dt="2022-09-05T12:45:43.442" v="13783" actId="478"/>
          <ac:spMkLst>
            <pc:docMk/>
            <pc:sldMk cId="3618206242" sldId="277"/>
            <ac:spMk id="7" creationId="{E1068EE7-7C62-45BC-B666-F793C998628C}"/>
          </ac:spMkLst>
        </pc:spChg>
      </pc:sldChg>
      <pc:sldChg chg="addSp delSp modSp new del mod">
        <pc:chgData name="Degroote,Dr.,Matthias (QC) BIM-NL-A" userId="41b105fd-0c60-4b73-9c68-f6bd9a3e273d" providerId="ADAL" clId="{EF0C7939-7608-4B49-B2D7-7F93E6CA63D9}" dt="2022-09-03T20:12:22.040" v="6907" actId="47"/>
        <pc:sldMkLst>
          <pc:docMk/>
          <pc:sldMk cId="552257382" sldId="278"/>
        </pc:sldMkLst>
        <pc:spChg chg="mod">
          <ac:chgData name="Degroote,Dr.,Matthias (QC) BIM-NL-A" userId="41b105fd-0c60-4b73-9c68-f6bd9a3e273d" providerId="ADAL" clId="{EF0C7939-7608-4B49-B2D7-7F93E6CA63D9}" dt="2022-09-03T20:11:06.427" v="6902" actId="21"/>
          <ac:spMkLst>
            <pc:docMk/>
            <pc:sldMk cId="552257382" sldId="278"/>
            <ac:spMk id="2" creationId="{2555E9B5-D386-4973-B423-A4DBDC26D28D}"/>
          </ac:spMkLst>
        </pc:spChg>
        <pc:spChg chg="mod">
          <ac:chgData name="Degroote,Dr.,Matthias (QC) BIM-NL-A" userId="41b105fd-0c60-4b73-9c68-f6bd9a3e273d" providerId="ADAL" clId="{EF0C7939-7608-4B49-B2D7-7F93E6CA63D9}" dt="2022-09-03T20:07:16.718" v="6815" actId="20577"/>
          <ac:spMkLst>
            <pc:docMk/>
            <pc:sldMk cId="552257382" sldId="278"/>
            <ac:spMk id="5" creationId="{F937FBEA-EBCF-4C3C-803B-516348D15335}"/>
          </ac:spMkLst>
        </pc:spChg>
        <pc:spChg chg="add del">
          <ac:chgData name="Degroote,Dr.,Matthias (QC) BIM-NL-A" userId="41b105fd-0c60-4b73-9c68-f6bd9a3e273d" providerId="ADAL" clId="{EF0C7939-7608-4B49-B2D7-7F93E6CA63D9}" dt="2022-09-03T20:11:28.488" v="6906" actId="22"/>
          <ac:spMkLst>
            <pc:docMk/>
            <pc:sldMk cId="552257382" sldId="278"/>
            <ac:spMk id="7" creationId="{5B9846BD-7E6B-4361-816D-9E19EB83A3AA}"/>
          </ac:spMkLst>
        </pc:spChg>
      </pc:sldChg>
      <pc:sldChg chg="delSp modSp add mod">
        <pc:chgData name="Degroote,Dr.,Matthias (QC) BIM-NL-A" userId="41b105fd-0c60-4b73-9c68-f6bd9a3e273d" providerId="ADAL" clId="{EF0C7939-7608-4B49-B2D7-7F93E6CA63D9}" dt="2022-09-05T22:01:03.855" v="23068" actId="478"/>
        <pc:sldMkLst>
          <pc:docMk/>
          <pc:sldMk cId="1143487386" sldId="278"/>
        </pc:sldMkLst>
        <pc:spChg chg="mod">
          <ac:chgData name="Degroote,Dr.,Matthias (QC) BIM-NL-A" userId="41b105fd-0c60-4b73-9c68-f6bd9a3e273d" providerId="ADAL" clId="{EF0C7939-7608-4B49-B2D7-7F93E6CA63D9}" dt="2022-09-05T20:39:12.864" v="16176" actId="255"/>
          <ac:spMkLst>
            <pc:docMk/>
            <pc:sldMk cId="1143487386" sldId="278"/>
            <ac:spMk id="2" creationId="{D2B9FEB2-3C21-4A73-A231-BFF9A7F694CB}"/>
          </ac:spMkLst>
        </pc:spChg>
        <pc:spChg chg="del">
          <ac:chgData name="Degroote,Dr.,Matthias (QC) BIM-NL-A" userId="41b105fd-0c60-4b73-9c68-f6bd9a3e273d" providerId="ADAL" clId="{EF0C7939-7608-4B49-B2D7-7F93E6CA63D9}" dt="2022-09-05T22:01:03.855" v="23068" actId="478"/>
          <ac:spMkLst>
            <pc:docMk/>
            <pc:sldMk cId="1143487386" sldId="278"/>
            <ac:spMk id="3" creationId="{282FF6B4-25A2-4B40-8E33-310E0D28912B}"/>
          </ac:spMkLst>
        </pc:spChg>
        <pc:spChg chg="mod">
          <ac:chgData name="Degroote,Dr.,Matthias (QC) BIM-NL-A" userId="41b105fd-0c60-4b73-9c68-f6bd9a3e273d" providerId="ADAL" clId="{EF0C7939-7608-4B49-B2D7-7F93E6CA63D9}" dt="2022-09-05T18:19:19.454" v="15343" actId="20577"/>
          <ac:spMkLst>
            <pc:docMk/>
            <pc:sldMk cId="1143487386" sldId="278"/>
            <ac:spMk id="5" creationId="{A5021E82-E63E-4094-A2C7-22CA0867FD12}"/>
          </ac:spMkLst>
        </pc:spChg>
      </pc:sldChg>
      <pc:sldChg chg="delSp modSp add mod">
        <pc:chgData name="Degroote,Dr.,Matthias (QC) BIM-NL-A" userId="41b105fd-0c60-4b73-9c68-f6bd9a3e273d" providerId="ADAL" clId="{EF0C7939-7608-4B49-B2D7-7F93E6CA63D9}" dt="2022-09-05T22:00:59.933" v="23067" actId="478"/>
        <pc:sldMkLst>
          <pc:docMk/>
          <pc:sldMk cId="610258218" sldId="279"/>
        </pc:sldMkLst>
        <pc:spChg chg="mod">
          <ac:chgData name="Degroote,Dr.,Matthias (QC) BIM-NL-A" userId="41b105fd-0c60-4b73-9c68-f6bd9a3e273d" providerId="ADAL" clId="{EF0C7939-7608-4B49-B2D7-7F93E6CA63D9}" dt="2022-09-05T20:39:34.501" v="16178" actId="255"/>
          <ac:spMkLst>
            <pc:docMk/>
            <pc:sldMk cId="610258218" sldId="279"/>
            <ac:spMk id="2" creationId="{D2B9FEB2-3C21-4A73-A231-BFF9A7F694CB}"/>
          </ac:spMkLst>
        </pc:spChg>
        <pc:spChg chg="del">
          <ac:chgData name="Degroote,Dr.,Matthias (QC) BIM-NL-A" userId="41b105fd-0c60-4b73-9c68-f6bd9a3e273d" providerId="ADAL" clId="{EF0C7939-7608-4B49-B2D7-7F93E6CA63D9}" dt="2022-09-05T22:00:59.933" v="23067" actId="478"/>
          <ac:spMkLst>
            <pc:docMk/>
            <pc:sldMk cId="610258218" sldId="279"/>
            <ac:spMk id="3" creationId="{282FF6B4-25A2-4B40-8E33-310E0D28912B}"/>
          </ac:spMkLst>
        </pc:spChg>
        <pc:spChg chg="mod">
          <ac:chgData name="Degroote,Dr.,Matthias (QC) BIM-NL-A" userId="41b105fd-0c60-4b73-9c68-f6bd9a3e273d" providerId="ADAL" clId="{EF0C7939-7608-4B49-B2D7-7F93E6CA63D9}" dt="2022-09-03T21:07:58.739" v="8623" actId="20577"/>
          <ac:spMkLst>
            <pc:docMk/>
            <pc:sldMk cId="610258218" sldId="279"/>
            <ac:spMk id="5" creationId="{A5021E82-E63E-4094-A2C7-22CA0867FD12}"/>
          </ac:spMkLst>
        </pc:spChg>
      </pc:sldChg>
      <pc:sldChg chg="addSp delSp modSp add mod">
        <pc:chgData name="Degroote,Dr.,Matthias (QC) BIM-NL-A" userId="41b105fd-0c60-4b73-9c68-f6bd9a3e273d" providerId="ADAL" clId="{EF0C7939-7608-4B49-B2D7-7F93E6CA63D9}" dt="2022-09-05T22:00:52.023" v="23066" actId="478"/>
        <pc:sldMkLst>
          <pc:docMk/>
          <pc:sldMk cId="3844242452" sldId="280"/>
        </pc:sldMkLst>
        <pc:spChg chg="mod">
          <ac:chgData name="Degroote,Dr.,Matthias (QC) BIM-NL-A" userId="41b105fd-0c60-4b73-9c68-f6bd9a3e273d" providerId="ADAL" clId="{EF0C7939-7608-4B49-B2D7-7F93E6CA63D9}" dt="2022-09-05T20:40:02.194" v="16183" actId="20577"/>
          <ac:spMkLst>
            <pc:docMk/>
            <pc:sldMk cId="3844242452" sldId="280"/>
            <ac:spMk id="2" creationId="{D2B9FEB2-3C21-4A73-A231-BFF9A7F694CB}"/>
          </ac:spMkLst>
        </pc:spChg>
        <pc:spChg chg="del">
          <ac:chgData name="Degroote,Dr.,Matthias (QC) BIM-NL-A" userId="41b105fd-0c60-4b73-9c68-f6bd9a3e273d" providerId="ADAL" clId="{EF0C7939-7608-4B49-B2D7-7F93E6CA63D9}" dt="2022-09-05T22:00:52.023" v="23066" actId="478"/>
          <ac:spMkLst>
            <pc:docMk/>
            <pc:sldMk cId="3844242452" sldId="280"/>
            <ac:spMk id="3" creationId="{282FF6B4-25A2-4B40-8E33-310E0D28912B}"/>
          </ac:spMkLst>
        </pc:spChg>
        <pc:spChg chg="mod">
          <ac:chgData name="Degroote,Dr.,Matthias (QC) BIM-NL-A" userId="41b105fd-0c60-4b73-9c68-f6bd9a3e273d" providerId="ADAL" clId="{EF0C7939-7608-4B49-B2D7-7F93E6CA63D9}" dt="2022-09-03T21:20:35.635" v="8695" actId="20577"/>
          <ac:spMkLst>
            <pc:docMk/>
            <pc:sldMk cId="3844242452" sldId="280"/>
            <ac:spMk id="5" creationId="{A5021E82-E63E-4094-A2C7-22CA0867FD12}"/>
          </ac:spMkLst>
        </pc:spChg>
        <pc:spChg chg="add mod">
          <ac:chgData name="Degroote,Dr.,Matthias (QC) BIM-NL-A" userId="41b105fd-0c60-4b73-9c68-f6bd9a3e273d" providerId="ADAL" clId="{EF0C7939-7608-4B49-B2D7-7F93E6CA63D9}" dt="2022-09-03T22:04:26.917" v="10036" actId="1076"/>
          <ac:spMkLst>
            <pc:docMk/>
            <pc:sldMk cId="3844242452" sldId="280"/>
            <ac:spMk id="6" creationId="{5BE13483-D646-460F-ADCF-40CBFDDB4A68}"/>
          </ac:spMkLst>
        </pc:spChg>
      </pc:sldChg>
      <pc:sldChg chg="delSp modSp add mod chgLayout">
        <pc:chgData name="Degroote,Dr.,Matthias (QC) BIM-NL-A" userId="41b105fd-0c60-4b73-9c68-f6bd9a3e273d" providerId="ADAL" clId="{EF0C7939-7608-4B49-B2D7-7F93E6CA63D9}" dt="2022-09-05T22:00:46.372" v="23064" actId="478"/>
        <pc:sldMkLst>
          <pc:docMk/>
          <pc:sldMk cId="4117016932" sldId="281"/>
        </pc:sldMkLst>
        <pc:spChg chg="mod ord">
          <ac:chgData name="Degroote,Dr.,Matthias (QC) BIM-NL-A" userId="41b105fd-0c60-4b73-9c68-f6bd9a3e273d" providerId="ADAL" clId="{EF0C7939-7608-4B49-B2D7-7F93E6CA63D9}" dt="2022-09-05T20:40:48.581" v="16187" actId="15"/>
          <ac:spMkLst>
            <pc:docMk/>
            <pc:sldMk cId="4117016932" sldId="281"/>
            <ac:spMk id="2" creationId="{1AB2DCFA-BDEF-4D45-992C-7A95E307BCFF}"/>
          </ac:spMkLst>
        </pc:spChg>
        <pc:spChg chg="del mod ord">
          <ac:chgData name="Degroote,Dr.,Matthias (QC) BIM-NL-A" userId="41b105fd-0c60-4b73-9c68-f6bd9a3e273d" providerId="ADAL" clId="{EF0C7939-7608-4B49-B2D7-7F93E6CA63D9}" dt="2022-09-05T22:00:46.372" v="23064" actId="478"/>
          <ac:spMkLst>
            <pc:docMk/>
            <pc:sldMk cId="4117016932" sldId="281"/>
            <ac:spMk id="3" creationId="{5EA7FC87-C2F0-4FB2-A52B-F96D2AC61403}"/>
          </ac:spMkLst>
        </pc:spChg>
        <pc:spChg chg="mod ord">
          <ac:chgData name="Degroote,Dr.,Matthias (QC) BIM-NL-A" userId="41b105fd-0c60-4b73-9c68-f6bd9a3e273d" providerId="ADAL" clId="{EF0C7939-7608-4B49-B2D7-7F93E6CA63D9}" dt="2022-09-03T22:07:26.683" v="10250" actId="700"/>
          <ac:spMkLst>
            <pc:docMk/>
            <pc:sldMk cId="4117016932" sldId="281"/>
            <ac:spMk id="4" creationId="{A08EF54A-D0A4-4F74-8E1F-E73216DF3C78}"/>
          </ac:spMkLst>
        </pc:spChg>
        <pc:spChg chg="mod ord">
          <ac:chgData name="Degroote,Dr.,Matthias (QC) BIM-NL-A" userId="41b105fd-0c60-4b73-9c68-f6bd9a3e273d" providerId="ADAL" clId="{EF0C7939-7608-4B49-B2D7-7F93E6CA63D9}" dt="2022-09-03T22:07:26.683" v="10250" actId="700"/>
          <ac:spMkLst>
            <pc:docMk/>
            <pc:sldMk cId="4117016932" sldId="281"/>
            <ac:spMk id="5" creationId="{913376AE-22E5-4E38-863B-8214F7C82D90}"/>
          </ac:spMkLst>
        </pc:spChg>
      </pc:sldChg>
      <pc:sldChg chg="delSp modSp new mod">
        <pc:chgData name="Degroote,Dr.,Matthias (QC) BIM-NL-A" userId="41b105fd-0c60-4b73-9c68-f6bd9a3e273d" providerId="ADAL" clId="{EF0C7939-7608-4B49-B2D7-7F93E6CA63D9}" dt="2022-09-05T22:00:44.010" v="23063" actId="478"/>
        <pc:sldMkLst>
          <pc:docMk/>
          <pc:sldMk cId="925588542" sldId="282"/>
        </pc:sldMkLst>
        <pc:spChg chg="mod">
          <ac:chgData name="Degroote,Dr.,Matthias (QC) BIM-NL-A" userId="41b105fd-0c60-4b73-9c68-f6bd9a3e273d" providerId="ADAL" clId="{EF0C7939-7608-4B49-B2D7-7F93E6CA63D9}" dt="2022-09-05T21:37:03.245" v="22713" actId="6549"/>
          <ac:spMkLst>
            <pc:docMk/>
            <pc:sldMk cId="925588542" sldId="282"/>
            <ac:spMk id="2" creationId="{332794C7-D2A7-44B1-862E-960A11756BEB}"/>
          </ac:spMkLst>
        </pc:spChg>
        <pc:spChg chg="del">
          <ac:chgData name="Degroote,Dr.,Matthias (QC) BIM-NL-A" userId="41b105fd-0c60-4b73-9c68-f6bd9a3e273d" providerId="ADAL" clId="{EF0C7939-7608-4B49-B2D7-7F93E6CA63D9}" dt="2022-09-05T22:00:44.010" v="23063" actId="478"/>
          <ac:spMkLst>
            <pc:docMk/>
            <pc:sldMk cId="925588542" sldId="282"/>
            <ac:spMk id="3" creationId="{711CF6AE-95AC-47E9-BE17-40F50706EB11}"/>
          </ac:spMkLst>
        </pc:spChg>
        <pc:spChg chg="mod">
          <ac:chgData name="Degroote,Dr.,Matthias (QC) BIM-NL-A" userId="41b105fd-0c60-4b73-9c68-f6bd9a3e273d" providerId="ADAL" clId="{EF0C7939-7608-4B49-B2D7-7F93E6CA63D9}" dt="2022-09-03T22:19:43.732" v="11035" actId="20577"/>
          <ac:spMkLst>
            <pc:docMk/>
            <pc:sldMk cId="925588542" sldId="282"/>
            <ac:spMk id="5" creationId="{C7743839-4BFC-4C30-BF69-E082CE688387}"/>
          </ac:spMkLst>
        </pc:spChg>
      </pc:sldChg>
      <pc:sldChg chg="delSp modSp new mod">
        <pc:chgData name="Degroote,Dr.,Matthias (QC) BIM-NL-A" userId="41b105fd-0c60-4b73-9c68-f6bd9a3e273d" providerId="ADAL" clId="{EF0C7939-7608-4B49-B2D7-7F93E6CA63D9}" dt="2022-09-05T22:01:15.638" v="23071" actId="478"/>
        <pc:sldMkLst>
          <pc:docMk/>
          <pc:sldMk cId="1912943333" sldId="283"/>
        </pc:sldMkLst>
        <pc:spChg chg="mod">
          <ac:chgData name="Degroote,Dr.,Matthias (QC) BIM-NL-A" userId="41b105fd-0c60-4b73-9c68-f6bd9a3e273d" providerId="ADAL" clId="{EF0C7939-7608-4B49-B2D7-7F93E6CA63D9}" dt="2022-09-05T20:36:48.179" v="16166" actId="255"/>
          <ac:spMkLst>
            <pc:docMk/>
            <pc:sldMk cId="1912943333" sldId="283"/>
            <ac:spMk id="2" creationId="{327A5967-0C85-4F18-B149-98DE501CE0AC}"/>
          </ac:spMkLst>
        </pc:spChg>
        <pc:spChg chg="del">
          <ac:chgData name="Degroote,Dr.,Matthias (QC) BIM-NL-A" userId="41b105fd-0c60-4b73-9c68-f6bd9a3e273d" providerId="ADAL" clId="{EF0C7939-7608-4B49-B2D7-7F93E6CA63D9}" dt="2022-09-05T22:01:15.638" v="23071" actId="478"/>
          <ac:spMkLst>
            <pc:docMk/>
            <pc:sldMk cId="1912943333" sldId="283"/>
            <ac:spMk id="3" creationId="{DF97AB47-49C4-4CCE-A082-4F279FCB6FB0}"/>
          </ac:spMkLst>
        </pc:spChg>
        <pc:spChg chg="mod">
          <ac:chgData name="Degroote,Dr.,Matthias (QC) BIM-NL-A" userId="41b105fd-0c60-4b73-9c68-f6bd9a3e273d" providerId="ADAL" clId="{EF0C7939-7608-4B49-B2D7-7F93E6CA63D9}" dt="2022-09-05T07:49:12.982" v="12028" actId="20577"/>
          <ac:spMkLst>
            <pc:docMk/>
            <pc:sldMk cId="1912943333" sldId="283"/>
            <ac:spMk id="5" creationId="{2F85962A-2D28-47A8-8559-0360A19745E6}"/>
          </ac:spMkLst>
        </pc:spChg>
      </pc:sldChg>
      <pc:sldChg chg="addSp delSp modSp new mod modAnim modShow">
        <pc:chgData name="Degroote,Dr.,Matthias (QC) BIM-NL-A" userId="41b105fd-0c60-4b73-9c68-f6bd9a3e273d" providerId="ADAL" clId="{EF0C7939-7608-4B49-B2D7-7F93E6CA63D9}" dt="2022-09-05T22:01:11.040" v="23069" actId="478"/>
        <pc:sldMkLst>
          <pc:docMk/>
          <pc:sldMk cId="3544596223" sldId="284"/>
        </pc:sldMkLst>
        <pc:spChg chg="del">
          <ac:chgData name="Degroote,Dr.,Matthias (QC) BIM-NL-A" userId="41b105fd-0c60-4b73-9c68-f6bd9a3e273d" providerId="ADAL" clId="{EF0C7939-7608-4B49-B2D7-7F93E6CA63D9}" dt="2022-09-04T21:35:34.053" v="11687" actId="931"/>
          <ac:spMkLst>
            <pc:docMk/>
            <pc:sldMk cId="3544596223" sldId="284"/>
            <ac:spMk id="2" creationId="{64CFE293-B8D0-447D-8F08-C8C88BFFB87C}"/>
          </ac:spMkLst>
        </pc:spChg>
        <pc:spChg chg="del">
          <ac:chgData name="Degroote,Dr.,Matthias (QC) BIM-NL-A" userId="41b105fd-0c60-4b73-9c68-f6bd9a3e273d" providerId="ADAL" clId="{EF0C7939-7608-4B49-B2D7-7F93E6CA63D9}" dt="2022-09-05T22:01:11.040" v="23069" actId="478"/>
          <ac:spMkLst>
            <pc:docMk/>
            <pc:sldMk cId="3544596223" sldId="284"/>
            <ac:spMk id="3" creationId="{6DD22C36-F7B9-405A-BC33-2DEF41D96088}"/>
          </ac:spMkLst>
        </pc:spChg>
        <pc:spChg chg="mod">
          <ac:chgData name="Degroote,Dr.,Matthias (QC) BIM-NL-A" userId="41b105fd-0c60-4b73-9c68-f6bd9a3e273d" providerId="ADAL" clId="{EF0C7939-7608-4B49-B2D7-7F93E6CA63D9}" dt="2022-09-04T20:54:31.040" v="11686" actId="20577"/>
          <ac:spMkLst>
            <pc:docMk/>
            <pc:sldMk cId="3544596223" sldId="284"/>
            <ac:spMk id="5" creationId="{7E3CAB37-1229-479C-81D0-227EEB5B502E}"/>
          </ac:spMkLst>
        </pc:spChg>
        <pc:spChg chg="add del mod">
          <ac:chgData name="Degroote,Dr.,Matthias (QC) BIM-NL-A" userId="41b105fd-0c60-4b73-9c68-f6bd9a3e273d" providerId="ADAL" clId="{EF0C7939-7608-4B49-B2D7-7F93E6CA63D9}" dt="2022-09-05T19:34:15.320" v="15556" actId="478"/>
          <ac:spMkLst>
            <pc:docMk/>
            <pc:sldMk cId="3544596223" sldId="284"/>
            <ac:spMk id="12" creationId="{31F005E3-FB2A-4270-83E6-5A7AD488FB62}"/>
          </ac:spMkLst>
        </pc:spChg>
        <pc:spChg chg="add del mod">
          <ac:chgData name="Degroote,Dr.,Matthias (QC) BIM-NL-A" userId="41b105fd-0c60-4b73-9c68-f6bd9a3e273d" providerId="ADAL" clId="{EF0C7939-7608-4B49-B2D7-7F93E6CA63D9}" dt="2022-09-05T19:34:14.419" v="15555" actId="478"/>
          <ac:spMkLst>
            <pc:docMk/>
            <pc:sldMk cId="3544596223" sldId="284"/>
            <ac:spMk id="14" creationId="{B51E745F-711D-4251-A0CF-8138725E0DA6}"/>
          </ac:spMkLst>
        </pc:spChg>
        <pc:spChg chg="add del mod">
          <ac:chgData name="Degroote,Dr.,Matthias (QC) BIM-NL-A" userId="41b105fd-0c60-4b73-9c68-f6bd9a3e273d" providerId="ADAL" clId="{EF0C7939-7608-4B49-B2D7-7F93E6CA63D9}" dt="2022-09-05T20:04:39.864" v="15824" actId="478"/>
          <ac:spMkLst>
            <pc:docMk/>
            <pc:sldMk cId="3544596223" sldId="284"/>
            <ac:spMk id="19" creationId="{A1AC4B35-85DC-4EC5-9FC8-B039EAF8E662}"/>
          </ac:spMkLst>
        </pc:spChg>
        <pc:spChg chg="add del mod">
          <ac:chgData name="Degroote,Dr.,Matthias (QC) BIM-NL-A" userId="41b105fd-0c60-4b73-9c68-f6bd9a3e273d" providerId="ADAL" clId="{EF0C7939-7608-4B49-B2D7-7F93E6CA63D9}" dt="2022-09-05T20:04:36.120" v="15823"/>
          <ac:spMkLst>
            <pc:docMk/>
            <pc:sldMk cId="3544596223" sldId="284"/>
            <ac:spMk id="24" creationId="{D72B182D-00ED-4D70-BE3B-D5B9C28E3D43}"/>
          </ac:spMkLst>
        </pc:spChg>
        <pc:spChg chg="add mod">
          <ac:chgData name="Degroote,Dr.,Matthias (QC) BIM-NL-A" userId="41b105fd-0c60-4b73-9c68-f6bd9a3e273d" providerId="ADAL" clId="{EF0C7939-7608-4B49-B2D7-7F93E6CA63D9}" dt="2022-09-05T20:04:40.448" v="15825"/>
          <ac:spMkLst>
            <pc:docMk/>
            <pc:sldMk cId="3544596223" sldId="284"/>
            <ac:spMk id="25" creationId="{C0ACF7D3-1BC9-4A36-8D64-731BC4392AAC}"/>
          </ac:spMkLst>
        </pc:spChg>
        <pc:spChg chg="add mod">
          <ac:chgData name="Degroote,Dr.,Matthias (QC) BIM-NL-A" userId="41b105fd-0c60-4b73-9c68-f6bd9a3e273d" providerId="ADAL" clId="{EF0C7939-7608-4B49-B2D7-7F93E6CA63D9}" dt="2022-09-05T21:45:16.809" v="22937" actId="1076"/>
          <ac:spMkLst>
            <pc:docMk/>
            <pc:sldMk cId="3544596223" sldId="284"/>
            <ac:spMk id="26" creationId="{14EBB7A9-74FA-4527-A533-9E843E716C7F}"/>
          </ac:spMkLst>
        </pc:spChg>
        <pc:picChg chg="add del mod">
          <ac:chgData name="Degroote,Dr.,Matthias (QC) BIM-NL-A" userId="41b105fd-0c60-4b73-9c68-f6bd9a3e273d" providerId="ADAL" clId="{EF0C7939-7608-4B49-B2D7-7F93E6CA63D9}" dt="2022-09-05T19:34:10.832" v="15554" actId="478"/>
          <ac:picMkLst>
            <pc:docMk/>
            <pc:sldMk cId="3544596223" sldId="284"/>
            <ac:picMk id="7" creationId="{D0191970-C241-4B48-A66A-D8E279DC9D7C}"/>
          </ac:picMkLst>
        </pc:picChg>
        <pc:picChg chg="add del mod">
          <ac:chgData name="Degroote,Dr.,Matthias (QC) BIM-NL-A" userId="41b105fd-0c60-4b73-9c68-f6bd9a3e273d" providerId="ADAL" clId="{EF0C7939-7608-4B49-B2D7-7F93E6CA63D9}" dt="2022-09-05T19:34:09.390" v="15553" actId="478"/>
          <ac:picMkLst>
            <pc:docMk/>
            <pc:sldMk cId="3544596223" sldId="284"/>
            <ac:picMk id="9" creationId="{9579680F-30AC-450F-A3EB-01E0171EFCED}"/>
          </ac:picMkLst>
        </pc:picChg>
        <pc:picChg chg="add del mod">
          <ac:chgData name="Degroote,Dr.,Matthias (QC) BIM-NL-A" userId="41b105fd-0c60-4b73-9c68-f6bd9a3e273d" providerId="ADAL" clId="{EF0C7939-7608-4B49-B2D7-7F93E6CA63D9}" dt="2022-09-05T19:34:09.390" v="15553" actId="478"/>
          <ac:picMkLst>
            <pc:docMk/>
            <pc:sldMk cId="3544596223" sldId="284"/>
            <ac:picMk id="11" creationId="{D5133E20-D4FA-4F12-963A-6E722DBBB3F6}"/>
          </ac:picMkLst>
        </pc:picChg>
        <pc:picChg chg="add del mod">
          <ac:chgData name="Degroote,Dr.,Matthias (QC) BIM-NL-A" userId="41b105fd-0c60-4b73-9c68-f6bd9a3e273d" providerId="ADAL" clId="{EF0C7939-7608-4B49-B2D7-7F93E6CA63D9}" dt="2022-09-05T19:45:31.701" v="15782" actId="478"/>
          <ac:picMkLst>
            <pc:docMk/>
            <pc:sldMk cId="3544596223" sldId="284"/>
            <ac:picMk id="16" creationId="{23069B77-FB11-4B57-945A-167877942B68}"/>
          </ac:picMkLst>
        </pc:picChg>
        <pc:picChg chg="add del mod modCrop">
          <ac:chgData name="Degroote,Dr.,Matthias (QC) BIM-NL-A" userId="41b105fd-0c60-4b73-9c68-f6bd9a3e273d" providerId="ADAL" clId="{EF0C7939-7608-4B49-B2D7-7F93E6CA63D9}" dt="2022-09-05T19:45:32.340" v="15783" actId="478"/>
          <ac:picMkLst>
            <pc:docMk/>
            <pc:sldMk cId="3544596223" sldId="284"/>
            <ac:picMk id="18" creationId="{43B7843B-DCE6-4B5A-95BD-58E26BFE3112}"/>
          </ac:picMkLst>
        </pc:picChg>
        <pc:picChg chg="add mod modCrop">
          <ac:chgData name="Degroote,Dr.,Matthias (QC) BIM-NL-A" userId="41b105fd-0c60-4b73-9c68-f6bd9a3e273d" providerId="ADAL" clId="{EF0C7939-7608-4B49-B2D7-7F93E6CA63D9}" dt="2022-09-05T21:18:13.309" v="18380" actId="962"/>
          <ac:picMkLst>
            <pc:docMk/>
            <pc:sldMk cId="3544596223" sldId="284"/>
            <ac:picMk id="21" creationId="{9C429883-9FEB-4F27-B2D8-C5ACA1902DE1}"/>
          </ac:picMkLst>
        </pc:picChg>
        <pc:picChg chg="add mod modCrop">
          <ac:chgData name="Degroote,Dr.,Matthias (QC) BIM-NL-A" userId="41b105fd-0c60-4b73-9c68-f6bd9a3e273d" providerId="ADAL" clId="{EF0C7939-7608-4B49-B2D7-7F93E6CA63D9}" dt="2022-09-05T21:20:11.564" v="19174" actId="962"/>
          <ac:picMkLst>
            <pc:docMk/>
            <pc:sldMk cId="3544596223" sldId="284"/>
            <ac:picMk id="23" creationId="{78EFF304-3C1D-4E3E-9C34-72EE4A6126B3}"/>
          </ac:picMkLst>
        </pc:picChg>
      </pc:sldChg>
      <pc:sldChg chg="addSp delSp modSp add del mod modShow">
        <pc:chgData name="Degroote,Dr.,Matthias (QC) BIM-NL-A" userId="41b105fd-0c60-4b73-9c68-f6bd9a3e273d" providerId="ADAL" clId="{EF0C7939-7608-4B49-B2D7-7F93E6CA63D9}" dt="2022-09-05T20:38:01.782" v="16173" actId="47"/>
        <pc:sldMkLst>
          <pc:docMk/>
          <pc:sldMk cId="2810304387" sldId="285"/>
        </pc:sldMkLst>
        <pc:spChg chg="del">
          <ac:chgData name="Degroote,Dr.,Matthias (QC) BIM-NL-A" userId="41b105fd-0c60-4b73-9c68-f6bd9a3e273d" providerId="ADAL" clId="{EF0C7939-7608-4B49-B2D7-7F93E6CA63D9}" dt="2022-09-05T12:41:07.787" v="13780" actId="478"/>
          <ac:spMkLst>
            <pc:docMk/>
            <pc:sldMk cId="2810304387" sldId="285"/>
            <ac:spMk id="3" creationId="{6DD22C36-F7B9-405A-BC33-2DEF41D96088}"/>
          </ac:spMkLst>
        </pc:spChg>
        <pc:spChg chg="mod">
          <ac:chgData name="Degroote,Dr.,Matthias (QC) BIM-NL-A" userId="41b105fd-0c60-4b73-9c68-f6bd9a3e273d" providerId="ADAL" clId="{EF0C7939-7608-4B49-B2D7-7F93E6CA63D9}" dt="2022-09-04T21:40:07.734" v="11816" actId="20577"/>
          <ac:spMkLst>
            <pc:docMk/>
            <pc:sldMk cId="2810304387" sldId="285"/>
            <ac:spMk id="5" creationId="{7E3CAB37-1229-479C-81D0-227EEB5B502E}"/>
          </ac:spMkLst>
        </pc:spChg>
        <pc:spChg chg="add del mod">
          <ac:chgData name="Degroote,Dr.,Matthias (QC) BIM-NL-A" userId="41b105fd-0c60-4b73-9c68-f6bd9a3e273d" providerId="ADAL" clId="{EF0C7939-7608-4B49-B2D7-7F93E6CA63D9}" dt="2022-09-04T21:40:23.858" v="11819" actId="931"/>
          <ac:spMkLst>
            <pc:docMk/>
            <pc:sldMk cId="2810304387" sldId="285"/>
            <ac:spMk id="6" creationId="{390211F1-C587-4DF6-A983-F84BC2AC9B5A}"/>
          </ac:spMkLst>
        </pc:spChg>
        <pc:spChg chg="mod">
          <ac:chgData name="Degroote,Dr.,Matthias (QC) BIM-NL-A" userId="41b105fd-0c60-4b73-9c68-f6bd9a3e273d" providerId="ADAL" clId="{EF0C7939-7608-4B49-B2D7-7F93E6CA63D9}" dt="2022-09-04T21:42:44.766" v="11916" actId="20577"/>
          <ac:spMkLst>
            <pc:docMk/>
            <pc:sldMk cId="2810304387" sldId="285"/>
            <ac:spMk id="12" creationId="{31F005E3-FB2A-4270-83E6-5A7AD488FB62}"/>
          </ac:spMkLst>
        </pc:spChg>
        <pc:spChg chg="add del mod">
          <ac:chgData name="Degroote,Dr.,Matthias (QC) BIM-NL-A" userId="41b105fd-0c60-4b73-9c68-f6bd9a3e273d" providerId="ADAL" clId="{EF0C7939-7608-4B49-B2D7-7F93E6CA63D9}" dt="2022-09-04T21:41:15.914" v="11823"/>
          <ac:spMkLst>
            <pc:docMk/>
            <pc:sldMk cId="2810304387" sldId="285"/>
            <ac:spMk id="14" creationId="{18ED30E9-AC07-4606-A41C-A2940E60B96D}"/>
          </ac:spMkLst>
        </pc:spChg>
        <pc:picChg chg="del">
          <ac:chgData name="Degroote,Dr.,Matthias (QC) BIM-NL-A" userId="41b105fd-0c60-4b73-9c68-f6bd9a3e273d" providerId="ADAL" clId="{EF0C7939-7608-4B49-B2D7-7F93E6CA63D9}" dt="2022-09-04T21:40:15.286" v="11818" actId="478"/>
          <ac:picMkLst>
            <pc:docMk/>
            <pc:sldMk cId="2810304387" sldId="285"/>
            <ac:picMk id="7" creationId="{D0191970-C241-4B48-A66A-D8E279DC9D7C}"/>
          </ac:picMkLst>
        </pc:picChg>
        <pc:picChg chg="del">
          <ac:chgData name="Degroote,Dr.,Matthias (QC) BIM-NL-A" userId="41b105fd-0c60-4b73-9c68-f6bd9a3e273d" providerId="ADAL" clId="{EF0C7939-7608-4B49-B2D7-7F93E6CA63D9}" dt="2022-09-04T21:40:12.441" v="11817" actId="478"/>
          <ac:picMkLst>
            <pc:docMk/>
            <pc:sldMk cId="2810304387" sldId="285"/>
            <ac:picMk id="9" creationId="{9579680F-30AC-450F-A3EB-01E0171EFCED}"/>
          </ac:picMkLst>
        </pc:picChg>
        <pc:picChg chg="add del mod">
          <ac:chgData name="Degroote,Dr.,Matthias (QC) BIM-NL-A" userId="41b105fd-0c60-4b73-9c68-f6bd9a3e273d" providerId="ADAL" clId="{EF0C7939-7608-4B49-B2D7-7F93E6CA63D9}" dt="2022-09-04T21:40:26.544" v="11822" actId="478"/>
          <ac:picMkLst>
            <pc:docMk/>
            <pc:sldMk cId="2810304387" sldId="285"/>
            <ac:picMk id="10" creationId="{E8E9A5FC-D03D-4738-A938-33571D61120D}"/>
          </ac:picMkLst>
        </pc:picChg>
        <pc:picChg chg="del">
          <ac:chgData name="Degroote,Dr.,Matthias (QC) BIM-NL-A" userId="41b105fd-0c60-4b73-9c68-f6bd9a3e273d" providerId="ADAL" clId="{EF0C7939-7608-4B49-B2D7-7F93E6CA63D9}" dt="2022-09-04T21:40:12.441" v="11817" actId="478"/>
          <ac:picMkLst>
            <pc:docMk/>
            <pc:sldMk cId="2810304387" sldId="285"/>
            <ac:picMk id="11" creationId="{D5133E20-D4FA-4F12-963A-6E722DBBB3F6}"/>
          </ac:picMkLst>
        </pc:picChg>
        <pc:picChg chg="add mod">
          <ac:chgData name="Degroote,Dr.,Matthias (QC) BIM-NL-A" userId="41b105fd-0c60-4b73-9c68-f6bd9a3e273d" providerId="ADAL" clId="{EF0C7939-7608-4B49-B2D7-7F93E6CA63D9}" dt="2022-09-04T21:42:34.015" v="11911" actId="1076"/>
          <ac:picMkLst>
            <pc:docMk/>
            <pc:sldMk cId="2810304387" sldId="285"/>
            <ac:picMk id="16" creationId="{4CE16E57-17DC-480A-AC42-8982F3E9A272}"/>
          </ac:picMkLst>
        </pc:picChg>
      </pc:sldChg>
      <pc:sldChg chg="delSp modSp add mod ord">
        <pc:chgData name="Degroote,Dr.,Matthias (QC) BIM-NL-A" userId="41b105fd-0c60-4b73-9c68-f6bd9a3e273d" providerId="ADAL" clId="{EF0C7939-7608-4B49-B2D7-7F93E6CA63D9}" dt="2022-09-05T21:38:37.431" v="22738" actId="20577"/>
        <pc:sldMkLst>
          <pc:docMk/>
          <pc:sldMk cId="2669600761" sldId="286"/>
        </pc:sldMkLst>
        <pc:spChg chg="mod">
          <ac:chgData name="Degroote,Dr.,Matthias (QC) BIM-NL-A" userId="41b105fd-0c60-4b73-9c68-f6bd9a3e273d" providerId="ADAL" clId="{EF0C7939-7608-4B49-B2D7-7F93E6CA63D9}" dt="2022-09-05T12:49:45.805" v="13854" actId="20577"/>
          <ac:spMkLst>
            <pc:docMk/>
            <pc:sldMk cId="2669600761" sldId="286"/>
            <ac:spMk id="2" creationId="{327A5967-0C85-4F18-B149-98DE501CE0AC}"/>
          </ac:spMkLst>
        </pc:spChg>
        <pc:spChg chg="del">
          <ac:chgData name="Degroote,Dr.,Matthias (QC) BIM-NL-A" userId="41b105fd-0c60-4b73-9c68-f6bd9a3e273d" providerId="ADAL" clId="{EF0C7939-7608-4B49-B2D7-7F93E6CA63D9}" dt="2022-09-05T12:40:58.083" v="13778" actId="478"/>
          <ac:spMkLst>
            <pc:docMk/>
            <pc:sldMk cId="2669600761" sldId="286"/>
            <ac:spMk id="3" creationId="{DF97AB47-49C4-4CCE-A082-4F279FCB6FB0}"/>
          </ac:spMkLst>
        </pc:spChg>
        <pc:spChg chg="mod">
          <ac:chgData name="Degroote,Dr.,Matthias (QC) BIM-NL-A" userId="41b105fd-0c60-4b73-9c68-f6bd9a3e273d" providerId="ADAL" clId="{EF0C7939-7608-4B49-B2D7-7F93E6CA63D9}" dt="2022-09-05T21:38:37.431" v="22738" actId="20577"/>
          <ac:spMkLst>
            <pc:docMk/>
            <pc:sldMk cId="2669600761" sldId="286"/>
            <ac:spMk id="5" creationId="{2F85962A-2D28-47A8-8559-0360A19745E6}"/>
          </ac:spMkLst>
        </pc:spChg>
      </pc:sldChg>
      <pc:sldChg chg="addSp delSp modSp new mod modNotesTx">
        <pc:chgData name="Degroote,Dr.,Matthias (QC) BIM-NL-A" userId="41b105fd-0c60-4b73-9c68-f6bd9a3e273d" providerId="ADAL" clId="{EF0C7939-7608-4B49-B2D7-7F93E6CA63D9}" dt="2022-09-05T21:39:15.127" v="22802" actId="20577"/>
        <pc:sldMkLst>
          <pc:docMk/>
          <pc:sldMk cId="193220242" sldId="287"/>
        </pc:sldMkLst>
        <pc:spChg chg="del">
          <ac:chgData name="Degroote,Dr.,Matthias (QC) BIM-NL-A" userId="41b105fd-0c60-4b73-9c68-f6bd9a3e273d" providerId="ADAL" clId="{EF0C7939-7608-4B49-B2D7-7F93E6CA63D9}" dt="2022-09-05T08:01:53.207" v="12512" actId="478"/>
          <ac:spMkLst>
            <pc:docMk/>
            <pc:sldMk cId="193220242" sldId="287"/>
            <ac:spMk id="2" creationId="{BBB2B1D1-493C-4F9E-AE67-1139FE6D3090}"/>
          </ac:spMkLst>
        </pc:spChg>
        <pc:spChg chg="del">
          <ac:chgData name="Degroote,Dr.,Matthias (QC) BIM-NL-A" userId="41b105fd-0c60-4b73-9c68-f6bd9a3e273d" providerId="ADAL" clId="{EF0C7939-7608-4B49-B2D7-7F93E6CA63D9}" dt="2022-09-05T12:40:55.099" v="13777" actId="478"/>
          <ac:spMkLst>
            <pc:docMk/>
            <pc:sldMk cId="193220242" sldId="287"/>
            <ac:spMk id="3" creationId="{6D690F4A-61E9-4752-8794-9183983383E2}"/>
          </ac:spMkLst>
        </pc:spChg>
        <pc:spChg chg="mod">
          <ac:chgData name="Degroote,Dr.,Matthias (QC) BIM-NL-A" userId="41b105fd-0c60-4b73-9c68-f6bd9a3e273d" providerId="ADAL" clId="{EF0C7939-7608-4B49-B2D7-7F93E6CA63D9}" dt="2022-09-05T21:39:15.127" v="22802" actId="20577"/>
          <ac:spMkLst>
            <pc:docMk/>
            <pc:sldMk cId="193220242" sldId="287"/>
            <ac:spMk id="5" creationId="{75FDE568-53F4-49C5-8BD5-0D5D638579DE}"/>
          </ac:spMkLst>
        </pc:spChg>
        <pc:spChg chg="add mod">
          <ac:chgData name="Degroote,Dr.,Matthias (QC) BIM-NL-A" userId="41b105fd-0c60-4b73-9c68-f6bd9a3e273d" providerId="ADAL" clId="{EF0C7939-7608-4B49-B2D7-7F93E6CA63D9}" dt="2022-09-05T08:05:09.180" v="12801" actId="1076"/>
          <ac:spMkLst>
            <pc:docMk/>
            <pc:sldMk cId="193220242" sldId="287"/>
            <ac:spMk id="8" creationId="{79AB9BE1-A878-4B25-92C0-13EFFD8FD828}"/>
          </ac:spMkLst>
        </pc:spChg>
        <pc:spChg chg="add del">
          <ac:chgData name="Degroote,Dr.,Matthias (QC) BIM-NL-A" userId="41b105fd-0c60-4b73-9c68-f6bd9a3e273d" providerId="ADAL" clId="{EF0C7939-7608-4B49-B2D7-7F93E6CA63D9}" dt="2022-09-05T08:11:43.514" v="12827" actId="22"/>
          <ac:spMkLst>
            <pc:docMk/>
            <pc:sldMk cId="193220242" sldId="287"/>
            <ac:spMk id="12" creationId="{980944F6-C207-49B1-A30D-09E1DF8A41C9}"/>
          </ac:spMkLst>
        </pc:spChg>
        <pc:picChg chg="add del mod modCrop">
          <ac:chgData name="Degroote,Dr.,Matthias (QC) BIM-NL-A" userId="41b105fd-0c60-4b73-9c68-f6bd9a3e273d" providerId="ADAL" clId="{EF0C7939-7608-4B49-B2D7-7F93E6CA63D9}" dt="2022-09-05T08:08:07.450" v="12820" actId="478"/>
          <ac:picMkLst>
            <pc:docMk/>
            <pc:sldMk cId="193220242" sldId="287"/>
            <ac:picMk id="7" creationId="{B8680E4E-96ED-4189-87F2-600564BF4300}"/>
          </ac:picMkLst>
        </pc:picChg>
        <pc:picChg chg="add del mod">
          <ac:chgData name="Degroote,Dr.,Matthias (QC) BIM-NL-A" userId="41b105fd-0c60-4b73-9c68-f6bd9a3e273d" providerId="ADAL" clId="{EF0C7939-7608-4B49-B2D7-7F93E6CA63D9}" dt="2022-09-05T08:08:25.779" v="12825" actId="478"/>
          <ac:picMkLst>
            <pc:docMk/>
            <pc:sldMk cId="193220242" sldId="287"/>
            <ac:picMk id="10" creationId="{B402EBA8-FA4C-45CF-878D-4B62AC66D417}"/>
          </ac:picMkLst>
        </pc:picChg>
        <pc:picChg chg="add mod modCrop">
          <ac:chgData name="Degroote,Dr.,Matthias (QC) BIM-NL-A" userId="41b105fd-0c60-4b73-9c68-f6bd9a3e273d" providerId="ADAL" clId="{EF0C7939-7608-4B49-B2D7-7F93E6CA63D9}" dt="2022-09-05T21:24:32.898" v="21552" actId="962"/>
          <ac:picMkLst>
            <pc:docMk/>
            <pc:sldMk cId="193220242" sldId="287"/>
            <ac:picMk id="14" creationId="{DEAF4C9F-A9E2-430C-8F71-47DEC2DD3EE8}"/>
          </ac:picMkLst>
        </pc:picChg>
      </pc:sldChg>
      <pc:sldChg chg="addSp delSp modSp new mod">
        <pc:chgData name="Degroote,Dr.,Matthias (QC) BIM-NL-A" userId="41b105fd-0c60-4b73-9c68-f6bd9a3e273d" providerId="ADAL" clId="{EF0C7939-7608-4B49-B2D7-7F93E6CA63D9}" dt="2022-09-05T12:40:44.443" v="13775" actId="478"/>
        <pc:sldMkLst>
          <pc:docMk/>
          <pc:sldMk cId="2533284981" sldId="288"/>
        </pc:sldMkLst>
        <pc:spChg chg="mod">
          <ac:chgData name="Degroote,Dr.,Matthias (QC) BIM-NL-A" userId="41b105fd-0c60-4b73-9c68-f6bd9a3e273d" providerId="ADAL" clId="{EF0C7939-7608-4B49-B2D7-7F93E6CA63D9}" dt="2022-09-05T12:37:45.368" v="13717" actId="20577"/>
          <ac:spMkLst>
            <pc:docMk/>
            <pc:sldMk cId="2533284981" sldId="288"/>
            <ac:spMk id="2" creationId="{00B25FF4-C431-49DA-8D86-E1FBA8B252BB}"/>
          </ac:spMkLst>
        </pc:spChg>
        <pc:spChg chg="del">
          <ac:chgData name="Degroote,Dr.,Matthias (QC) BIM-NL-A" userId="41b105fd-0c60-4b73-9c68-f6bd9a3e273d" providerId="ADAL" clId="{EF0C7939-7608-4B49-B2D7-7F93E6CA63D9}" dt="2022-09-05T12:40:44.443" v="13775" actId="478"/>
          <ac:spMkLst>
            <pc:docMk/>
            <pc:sldMk cId="2533284981" sldId="288"/>
            <ac:spMk id="3" creationId="{CE697F2F-2967-423C-B9B6-4BB2FB76DD01}"/>
          </ac:spMkLst>
        </pc:spChg>
        <pc:spChg chg="mod">
          <ac:chgData name="Degroote,Dr.,Matthias (QC) BIM-NL-A" userId="41b105fd-0c60-4b73-9c68-f6bd9a3e273d" providerId="ADAL" clId="{EF0C7939-7608-4B49-B2D7-7F93E6CA63D9}" dt="2022-09-05T08:05:23.516" v="12815" actId="20577"/>
          <ac:spMkLst>
            <pc:docMk/>
            <pc:sldMk cId="2533284981" sldId="288"/>
            <ac:spMk id="5" creationId="{A94BAD5E-5944-489D-80A2-7CDBBE98CCDC}"/>
          </ac:spMkLst>
        </pc:spChg>
        <pc:spChg chg="add mod">
          <ac:chgData name="Degroote,Dr.,Matthias (QC) BIM-NL-A" userId="41b105fd-0c60-4b73-9c68-f6bd9a3e273d" providerId="ADAL" clId="{EF0C7939-7608-4B49-B2D7-7F93E6CA63D9}" dt="2022-09-05T12:39:12.436" v="13749" actId="1076"/>
          <ac:spMkLst>
            <pc:docMk/>
            <pc:sldMk cId="2533284981" sldId="288"/>
            <ac:spMk id="6" creationId="{156FA819-E3CE-453C-9ADA-4EB692D3F8F6}"/>
          </ac:spMkLst>
        </pc:spChg>
      </pc:sldChg>
      <pc:sldChg chg="addSp delSp modSp add mod modAnim modNotesTx">
        <pc:chgData name="Degroote,Dr.,Matthias (QC) BIM-NL-A" userId="41b105fd-0c60-4b73-9c68-f6bd9a3e273d" providerId="ADAL" clId="{EF0C7939-7608-4B49-B2D7-7F93E6CA63D9}" dt="2022-09-05T21:45:46.123" v="22986" actId="1076"/>
        <pc:sldMkLst>
          <pc:docMk/>
          <pc:sldMk cId="604038402" sldId="289"/>
        </pc:sldMkLst>
        <pc:spChg chg="del">
          <ac:chgData name="Degroote,Dr.,Matthias (QC) BIM-NL-A" userId="41b105fd-0c60-4b73-9c68-f6bd9a3e273d" providerId="ADAL" clId="{EF0C7939-7608-4B49-B2D7-7F93E6CA63D9}" dt="2022-09-05T12:40:51.355" v="13776" actId="478"/>
          <ac:spMkLst>
            <pc:docMk/>
            <pc:sldMk cId="604038402" sldId="289"/>
            <ac:spMk id="3" creationId="{6D690F4A-61E9-4752-8794-9183983383E2}"/>
          </ac:spMkLst>
        </pc:spChg>
        <pc:spChg chg="mod">
          <ac:chgData name="Degroote,Dr.,Matthias (QC) BIM-NL-A" userId="41b105fd-0c60-4b73-9c68-f6bd9a3e273d" providerId="ADAL" clId="{EF0C7939-7608-4B49-B2D7-7F93E6CA63D9}" dt="2022-09-05T21:39:22.823" v="22825" actId="20577"/>
          <ac:spMkLst>
            <pc:docMk/>
            <pc:sldMk cId="604038402" sldId="289"/>
            <ac:spMk id="5" creationId="{75FDE568-53F4-49C5-8BD5-0D5D638579DE}"/>
          </ac:spMkLst>
        </pc:spChg>
        <pc:spChg chg="mod">
          <ac:chgData name="Degroote,Dr.,Matthias (QC) BIM-NL-A" userId="41b105fd-0c60-4b73-9c68-f6bd9a3e273d" providerId="ADAL" clId="{EF0C7939-7608-4B49-B2D7-7F93E6CA63D9}" dt="2022-09-05T08:13:15.780" v="12837" actId="20577"/>
          <ac:spMkLst>
            <pc:docMk/>
            <pc:sldMk cId="604038402" sldId="289"/>
            <ac:spMk id="8" creationId="{79AB9BE1-A878-4B25-92C0-13EFFD8FD828}"/>
          </ac:spMkLst>
        </pc:spChg>
        <pc:spChg chg="add del mod">
          <ac:chgData name="Degroote,Dr.,Matthias (QC) BIM-NL-A" userId="41b105fd-0c60-4b73-9c68-f6bd9a3e273d" providerId="ADAL" clId="{EF0C7939-7608-4B49-B2D7-7F93E6CA63D9}" dt="2022-09-05T12:27:11.507" v="12873" actId="21"/>
          <ac:spMkLst>
            <pc:docMk/>
            <pc:sldMk cId="604038402" sldId="289"/>
            <ac:spMk id="11" creationId="{EC6413F3-D420-45C6-A17D-0C7EF3EAB084}"/>
          </ac:spMkLst>
        </pc:spChg>
        <pc:spChg chg="add mod">
          <ac:chgData name="Degroote,Dr.,Matthias (QC) BIM-NL-A" userId="41b105fd-0c60-4b73-9c68-f6bd9a3e273d" providerId="ADAL" clId="{EF0C7939-7608-4B49-B2D7-7F93E6CA63D9}" dt="2022-09-05T21:45:46.123" v="22986" actId="1076"/>
          <ac:spMkLst>
            <pc:docMk/>
            <pc:sldMk cId="604038402" sldId="289"/>
            <ac:spMk id="12" creationId="{F1E7FF92-C8EC-4A52-AD8A-8C20F5A96A19}"/>
          </ac:spMkLst>
        </pc:spChg>
        <pc:picChg chg="add del">
          <ac:chgData name="Degroote,Dr.,Matthias (QC) BIM-NL-A" userId="41b105fd-0c60-4b73-9c68-f6bd9a3e273d" providerId="ADAL" clId="{EF0C7939-7608-4B49-B2D7-7F93E6CA63D9}" dt="2022-09-05T08:07:38.058" v="12819" actId="478"/>
          <ac:picMkLst>
            <pc:docMk/>
            <pc:sldMk cId="604038402" sldId="289"/>
            <ac:picMk id="6" creationId="{1A41ABB8-FD89-4D01-945B-8B32D1E29E99}"/>
          </ac:picMkLst>
        </pc:picChg>
        <pc:picChg chg="del">
          <ac:chgData name="Degroote,Dr.,Matthias (QC) BIM-NL-A" userId="41b105fd-0c60-4b73-9c68-f6bd9a3e273d" providerId="ADAL" clId="{EF0C7939-7608-4B49-B2D7-7F93E6CA63D9}" dt="2022-09-05T08:07:36.123" v="12818" actId="478"/>
          <ac:picMkLst>
            <pc:docMk/>
            <pc:sldMk cId="604038402" sldId="289"/>
            <ac:picMk id="7" creationId="{B8680E4E-96ED-4189-87F2-600564BF4300}"/>
          </ac:picMkLst>
        </pc:picChg>
        <pc:picChg chg="add mod">
          <ac:chgData name="Degroote,Dr.,Matthias (QC) BIM-NL-A" userId="41b105fd-0c60-4b73-9c68-f6bd9a3e273d" providerId="ADAL" clId="{EF0C7939-7608-4B49-B2D7-7F93E6CA63D9}" dt="2022-09-05T21:25:04.413" v="21784" actId="962"/>
          <ac:picMkLst>
            <pc:docMk/>
            <pc:sldMk cId="604038402" sldId="289"/>
            <ac:picMk id="10" creationId="{F541FF3F-FE16-4DE1-BC60-AB0B32989F54}"/>
          </ac:picMkLst>
        </pc:picChg>
      </pc:sldChg>
      <pc:sldChg chg="addSp delSp modSp add mod modAnim">
        <pc:chgData name="Degroote,Dr.,Matthias (QC) BIM-NL-A" userId="41b105fd-0c60-4b73-9c68-f6bd9a3e273d" providerId="ADAL" clId="{EF0C7939-7608-4B49-B2D7-7F93E6CA63D9}" dt="2022-09-05T21:42:43.469" v="22872"/>
        <pc:sldMkLst>
          <pc:docMk/>
          <pc:sldMk cId="2889606136" sldId="290"/>
        </pc:sldMkLst>
        <pc:spChg chg="del">
          <ac:chgData name="Degroote,Dr.,Matthias (QC) BIM-NL-A" userId="41b105fd-0c60-4b73-9c68-f6bd9a3e273d" providerId="ADAL" clId="{EF0C7939-7608-4B49-B2D7-7F93E6CA63D9}" dt="2022-09-05T12:25:37.251" v="12841" actId="22"/>
          <ac:spMkLst>
            <pc:docMk/>
            <pc:sldMk cId="2889606136" sldId="290"/>
            <ac:spMk id="2" creationId="{00B25FF4-C431-49DA-8D86-E1FBA8B252BB}"/>
          </ac:spMkLst>
        </pc:spChg>
        <pc:spChg chg="del">
          <ac:chgData name="Degroote,Dr.,Matthias (QC) BIM-NL-A" userId="41b105fd-0c60-4b73-9c68-f6bd9a3e273d" providerId="ADAL" clId="{EF0C7939-7608-4B49-B2D7-7F93E6CA63D9}" dt="2022-09-05T12:40:41.643" v="13774" actId="478"/>
          <ac:spMkLst>
            <pc:docMk/>
            <pc:sldMk cId="2889606136" sldId="290"/>
            <ac:spMk id="3" creationId="{CE697F2F-2967-423C-B9B6-4BB2FB76DD01}"/>
          </ac:spMkLst>
        </pc:spChg>
        <pc:spChg chg="mod">
          <ac:chgData name="Degroote,Dr.,Matthias (QC) BIM-NL-A" userId="41b105fd-0c60-4b73-9c68-f6bd9a3e273d" providerId="ADAL" clId="{EF0C7939-7608-4B49-B2D7-7F93E6CA63D9}" dt="2022-09-05T12:40:36.234" v="13773" actId="20577"/>
          <ac:spMkLst>
            <pc:docMk/>
            <pc:sldMk cId="2889606136" sldId="290"/>
            <ac:spMk id="5" creationId="{A94BAD5E-5944-489D-80A2-7CDBBE98CCDC}"/>
          </ac:spMkLst>
        </pc:spChg>
        <pc:spChg chg="add mod">
          <ac:chgData name="Degroote,Dr.,Matthias (QC) BIM-NL-A" userId="41b105fd-0c60-4b73-9c68-f6bd9a3e273d" providerId="ADAL" clId="{EF0C7939-7608-4B49-B2D7-7F93E6CA63D9}" dt="2022-09-05T12:27:46.924" v="12879" actId="1076"/>
          <ac:spMkLst>
            <pc:docMk/>
            <pc:sldMk cId="2889606136" sldId="290"/>
            <ac:spMk id="10" creationId="{CA7573CB-939D-4B3A-953A-C9A46B5EF002}"/>
          </ac:spMkLst>
        </pc:spChg>
        <pc:spChg chg="add mod">
          <ac:chgData name="Degroote,Dr.,Matthias (QC) BIM-NL-A" userId="41b105fd-0c60-4b73-9c68-f6bd9a3e273d" providerId="ADAL" clId="{EF0C7939-7608-4B49-B2D7-7F93E6CA63D9}" dt="2022-09-05T12:39:23.844" v="13751" actId="114"/>
          <ac:spMkLst>
            <pc:docMk/>
            <pc:sldMk cId="2889606136" sldId="290"/>
            <ac:spMk id="11" creationId="{FF78510E-C96B-4BB7-BF2B-D97407074B08}"/>
          </ac:spMkLst>
        </pc:spChg>
        <pc:spChg chg="add mod">
          <ac:chgData name="Degroote,Dr.,Matthias (QC) BIM-NL-A" userId="41b105fd-0c60-4b73-9c68-f6bd9a3e273d" providerId="ADAL" clId="{EF0C7939-7608-4B49-B2D7-7F93E6CA63D9}" dt="2022-09-05T21:41:50.887" v="22871" actId="207"/>
          <ac:spMkLst>
            <pc:docMk/>
            <pc:sldMk cId="2889606136" sldId="290"/>
            <ac:spMk id="12" creationId="{2E29C54A-8DE1-47A4-90B2-8F6E015FA691}"/>
          </ac:spMkLst>
        </pc:spChg>
        <pc:picChg chg="add mod ord">
          <ac:chgData name="Degroote,Dr.,Matthias (QC) BIM-NL-A" userId="41b105fd-0c60-4b73-9c68-f6bd9a3e273d" providerId="ADAL" clId="{EF0C7939-7608-4B49-B2D7-7F93E6CA63D9}" dt="2022-09-05T21:26:44.859" v="22304" actId="962"/>
          <ac:picMkLst>
            <pc:docMk/>
            <pc:sldMk cId="2889606136" sldId="290"/>
            <ac:picMk id="7" creationId="{17644CD2-59CC-4A59-878D-381C06B4AFC9}"/>
          </ac:picMkLst>
        </pc:picChg>
        <pc:picChg chg="add mod">
          <ac:chgData name="Degroote,Dr.,Matthias (QC) BIM-NL-A" userId="41b105fd-0c60-4b73-9c68-f6bd9a3e273d" providerId="ADAL" clId="{EF0C7939-7608-4B49-B2D7-7F93E6CA63D9}" dt="2022-09-05T21:25:51.072" v="21968" actId="962"/>
          <ac:picMkLst>
            <pc:docMk/>
            <pc:sldMk cId="2889606136" sldId="290"/>
            <ac:picMk id="9" creationId="{6419087C-E6FD-4D6D-987B-7964343381C0}"/>
          </ac:picMkLst>
        </pc:picChg>
      </pc:sldChg>
      <pc:sldChg chg="delSp modSp new mod">
        <pc:chgData name="Degroote,Dr.,Matthias (QC) BIM-NL-A" userId="41b105fd-0c60-4b73-9c68-f6bd9a3e273d" providerId="ADAL" clId="{EF0C7939-7608-4B49-B2D7-7F93E6CA63D9}" dt="2022-09-05T22:00:39.687" v="23062" actId="478"/>
        <pc:sldMkLst>
          <pc:docMk/>
          <pc:sldMk cId="536079368" sldId="291"/>
        </pc:sldMkLst>
        <pc:spChg chg="mod">
          <ac:chgData name="Degroote,Dr.,Matthias (QC) BIM-NL-A" userId="41b105fd-0c60-4b73-9c68-f6bd9a3e273d" providerId="ADAL" clId="{EF0C7939-7608-4B49-B2D7-7F93E6CA63D9}" dt="2022-09-05T12:56:44.899" v="14516" actId="20577"/>
          <ac:spMkLst>
            <pc:docMk/>
            <pc:sldMk cId="536079368" sldId="291"/>
            <ac:spMk id="2" creationId="{6FD36D0D-83E3-48DD-B629-CB823FD06C50}"/>
          </ac:spMkLst>
        </pc:spChg>
        <pc:spChg chg="del">
          <ac:chgData name="Degroote,Dr.,Matthias (QC) BIM-NL-A" userId="41b105fd-0c60-4b73-9c68-f6bd9a3e273d" providerId="ADAL" clId="{EF0C7939-7608-4B49-B2D7-7F93E6CA63D9}" dt="2022-09-05T22:00:39.687" v="23062" actId="478"/>
          <ac:spMkLst>
            <pc:docMk/>
            <pc:sldMk cId="536079368" sldId="291"/>
            <ac:spMk id="3" creationId="{30326F9D-B1DB-413D-ACC2-C7491E91D565}"/>
          </ac:spMkLst>
        </pc:spChg>
        <pc:spChg chg="mod">
          <ac:chgData name="Degroote,Dr.,Matthias (QC) BIM-NL-A" userId="41b105fd-0c60-4b73-9c68-f6bd9a3e273d" providerId="ADAL" clId="{EF0C7939-7608-4B49-B2D7-7F93E6CA63D9}" dt="2022-09-05T12:51:32.503" v="13866" actId="20577"/>
          <ac:spMkLst>
            <pc:docMk/>
            <pc:sldMk cId="536079368" sldId="291"/>
            <ac:spMk id="5" creationId="{F606E2C2-06F4-48FB-ACE5-8CAC30DF3B74}"/>
          </ac:spMkLst>
        </pc:spChg>
      </pc:sldChg>
      <pc:sldChg chg="addSp delSp modSp add mod modAnim">
        <pc:chgData name="Degroote,Dr.,Matthias (QC) BIM-NL-A" userId="41b105fd-0c60-4b73-9c68-f6bd9a3e273d" providerId="ADAL" clId="{EF0C7939-7608-4B49-B2D7-7F93E6CA63D9}" dt="2022-09-05T21:46:42.386" v="23025" actId="478"/>
        <pc:sldMkLst>
          <pc:docMk/>
          <pc:sldMk cId="2337078245" sldId="292"/>
        </pc:sldMkLst>
        <pc:spChg chg="del">
          <ac:chgData name="Degroote,Dr.,Matthias (QC) BIM-NL-A" userId="41b105fd-0c60-4b73-9c68-f6bd9a3e273d" providerId="ADAL" clId="{EF0C7939-7608-4B49-B2D7-7F93E6CA63D9}" dt="2022-09-05T13:01:30.121" v="14518" actId="478"/>
          <ac:spMkLst>
            <pc:docMk/>
            <pc:sldMk cId="2337078245" sldId="292"/>
            <ac:spMk id="2" creationId="{327A5967-0C85-4F18-B149-98DE501CE0AC}"/>
          </ac:spMkLst>
        </pc:spChg>
        <pc:spChg chg="mod">
          <ac:chgData name="Degroote,Dr.,Matthias (QC) BIM-NL-A" userId="41b105fd-0c60-4b73-9c68-f6bd9a3e273d" providerId="ADAL" clId="{EF0C7939-7608-4B49-B2D7-7F93E6CA63D9}" dt="2022-09-05T13:12:45.714" v="14807" actId="20577"/>
          <ac:spMkLst>
            <pc:docMk/>
            <pc:sldMk cId="2337078245" sldId="292"/>
            <ac:spMk id="5" creationId="{2F85962A-2D28-47A8-8559-0360A19745E6}"/>
          </ac:spMkLst>
        </pc:spChg>
        <pc:spChg chg="add del mod">
          <ac:chgData name="Degroote,Dr.,Matthias (QC) BIM-NL-A" userId="41b105fd-0c60-4b73-9c68-f6bd9a3e273d" providerId="ADAL" clId="{EF0C7939-7608-4B49-B2D7-7F93E6CA63D9}" dt="2022-09-05T13:01:31.927" v="14519" actId="478"/>
          <ac:spMkLst>
            <pc:docMk/>
            <pc:sldMk cId="2337078245" sldId="292"/>
            <ac:spMk id="6" creationId="{5EE2493F-583D-4301-99DC-4029737F14FF}"/>
          </ac:spMkLst>
        </pc:spChg>
        <pc:spChg chg="add del mod">
          <ac:chgData name="Degroote,Dr.,Matthias (QC) BIM-NL-A" userId="41b105fd-0c60-4b73-9c68-f6bd9a3e273d" providerId="ADAL" clId="{EF0C7939-7608-4B49-B2D7-7F93E6CA63D9}" dt="2022-09-05T21:46:42.386" v="23025" actId="478"/>
          <ac:spMkLst>
            <pc:docMk/>
            <pc:sldMk cId="2337078245" sldId="292"/>
            <ac:spMk id="11" creationId="{C688E554-DAB3-436F-A20B-734FDAC290EF}"/>
          </ac:spMkLst>
        </pc:spChg>
        <pc:spChg chg="add mod">
          <ac:chgData name="Degroote,Dr.,Matthias (QC) BIM-NL-A" userId="41b105fd-0c60-4b73-9c68-f6bd9a3e273d" providerId="ADAL" clId="{EF0C7939-7608-4B49-B2D7-7F93E6CA63D9}" dt="2022-09-05T13:07:13.677" v="14732" actId="1076"/>
          <ac:spMkLst>
            <pc:docMk/>
            <pc:sldMk cId="2337078245" sldId="292"/>
            <ac:spMk id="12" creationId="{7FE2001D-C13B-45EF-866E-4C01DDA55D96}"/>
          </ac:spMkLst>
        </pc:spChg>
        <pc:spChg chg="add mod">
          <ac:chgData name="Degroote,Dr.,Matthias (QC) BIM-NL-A" userId="41b105fd-0c60-4b73-9c68-f6bd9a3e273d" providerId="ADAL" clId="{EF0C7939-7608-4B49-B2D7-7F93E6CA63D9}" dt="2022-09-05T21:46:37.387" v="23024" actId="5793"/>
          <ac:spMkLst>
            <pc:docMk/>
            <pc:sldMk cId="2337078245" sldId="292"/>
            <ac:spMk id="13" creationId="{77739783-F061-4F68-9146-D9A691B12EAC}"/>
          </ac:spMkLst>
        </pc:spChg>
        <pc:picChg chg="add mod">
          <ac:chgData name="Degroote,Dr.,Matthias (QC) BIM-NL-A" userId="41b105fd-0c60-4b73-9c68-f6bd9a3e273d" providerId="ADAL" clId="{EF0C7939-7608-4B49-B2D7-7F93E6CA63D9}" dt="2022-09-05T21:20:41.857" v="19432" actId="962"/>
          <ac:picMkLst>
            <pc:docMk/>
            <pc:sldMk cId="2337078245" sldId="292"/>
            <ac:picMk id="8" creationId="{51337AAF-1F17-4FD5-A09C-35F71628E573}"/>
          </ac:picMkLst>
        </pc:picChg>
        <pc:picChg chg="add mod">
          <ac:chgData name="Degroote,Dr.,Matthias (QC) BIM-NL-A" userId="41b105fd-0c60-4b73-9c68-f6bd9a3e273d" providerId="ADAL" clId="{EF0C7939-7608-4B49-B2D7-7F93E6CA63D9}" dt="2022-09-05T21:23:13.073" v="20894" actId="962"/>
          <ac:picMkLst>
            <pc:docMk/>
            <pc:sldMk cId="2337078245" sldId="292"/>
            <ac:picMk id="10" creationId="{F4ECA384-4DB6-40B1-AAD3-D666E2C7D43F}"/>
          </ac:picMkLst>
        </pc:picChg>
      </pc:sldChg>
      <pc:sldChg chg="modSp new del mod">
        <pc:chgData name="Degroote,Dr.,Matthias (QC) BIM-NL-A" userId="41b105fd-0c60-4b73-9c68-f6bd9a3e273d" providerId="ADAL" clId="{EF0C7939-7608-4B49-B2D7-7F93E6CA63D9}" dt="2022-09-05T20:31:24.915" v="16063" actId="47"/>
        <pc:sldMkLst>
          <pc:docMk/>
          <pc:sldMk cId="323384533" sldId="293"/>
        </pc:sldMkLst>
        <pc:spChg chg="mod">
          <ac:chgData name="Degroote,Dr.,Matthias (QC) BIM-NL-A" userId="41b105fd-0c60-4b73-9c68-f6bd9a3e273d" providerId="ADAL" clId="{EF0C7939-7608-4B49-B2D7-7F93E6CA63D9}" dt="2022-09-05T20:23:04.684" v="16062" actId="20577"/>
          <ac:spMkLst>
            <pc:docMk/>
            <pc:sldMk cId="323384533" sldId="293"/>
            <ac:spMk id="5" creationId="{FB1E6B53-D5A1-4D8C-9D48-7CF7BE1FAEC9}"/>
          </ac:spMkLst>
        </pc:spChg>
      </pc:sldChg>
      <pc:sldChg chg="add del">
        <pc:chgData name="Degroote,Dr.,Matthias (QC) BIM-NL-A" userId="41b105fd-0c60-4b73-9c68-f6bd9a3e273d" providerId="ADAL" clId="{EF0C7939-7608-4B49-B2D7-7F93E6CA63D9}" dt="2022-09-05T20:38:01.782" v="16173" actId="47"/>
        <pc:sldMkLst>
          <pc:docMk/>
          <pc:sldMk cId="95501131" sldId="294"/>
        </pc:sldMkLst>
      </pc:sldChg>
      <pc:sldChg chg="delSp modSp add mod ord">
        <pc:chgData name="Degroote,Dr.,Matthias (QC) BIM-NL-A" userId="41b105fd-0c60-4b73-9c68-f6bd9a3e273d" providerId="ADAL" clId="{EF0C7939-7608-4B49-B2D7-7F93E6CA63D9}" dt="2022-09-05T22:01:13.534" v="23070" actId="478"/>
        <pc:sldMkLst>
          <pc:docMk/>
          <pc:sldMk cId="2891771897" sldId="295"/>
        </pc:sldMkLst>
        <pc:spChg chg="del">
          <ac:chgData name="Degroote,Dr.,Matthias (QC) BIM-NL-A" userId="41b105fd-0c60-4b73-9c68-f6bd9a3e273d" providerId="ADAL" clId="{EF0C7939-7608-4B49-B2D7-7F93E6CA63D9}" dt="2022-09-05T22:01:13.534" v="23070" actId="478"/>
          <ac:spMkLst>
            <pc:docMk/>
            <pc:sldMk cId="2891771897" sldId="295"/>
            <ac:spMk id="3" creationId="{6DD22C36-F7B9-405A-BC33-2DEF41D96088}"/>
          </ac:spMkLst>
        </pc:spChg>
        <pc:spChg chg="mod">
          <ac:chgData name="Degroote,Dr.,Matthias (QC) BIM-NL-A" userId="41b105fd-0c60-4b73-9c68-f6bd9a3e273d" providerId="ADAL" clId="{EF0C7939-7608-4B49-B2D7-7F93E6CA63D9}" dt="2022-09-05T19:45:22.867" v="15779" actId="20577"/>
          <ac:spMkLst>
            <pc:docMk/>
            <pc:sldMk cId="2891771897" sldId="295"/>
            <ac:spMk id="5" creationId="{7E3CAB37-1229-479C-81D0-227EEB5B502E}"/>
          </ac:spMkLst>
        </pc:spChg>
        <pc:spChg chg="mod">
          <ac:chgData name="Degroote,Dr.,Matthias (QC) BIM-NL-A" userId="41b105fd-0c60-4b73-9c68-f6bd9a3e273d" providerId="ADAL" clId="{EF0C7939-7608-4B49-B2D7-7F93E6CA63D9}" dt="2022-09-05T20:04:20.583" v="15821" actId="14100"/>
          <ac:spMkLst>
            <pc:docMk/>
            <pc:sldMk cId="2891771897" sldId="295"/>
            <ac:spMk id="19" creationId="{A1AC4B35-85DC-4EC5-9FC8-B039EAF8E662}"/>
          </ac:spMkLst>
        </pc:spChg>
        <pc:picChg chg="mod">
          <ac:chgData name="Degroote,Dr.,Matthias (QC) BIM-NL-A" userId="41b105fd-0c60-4b73-9c68-f6bd9a3e273d" providerId="ADAL" clId="{EF0C7939-7608-4B49-B2D7-7F93E6CA63D9}" dt="2022-09-05T21:15:08.784" v="17130" actId="962"/>
          <ac:picMkLst>
            <pc:docMk/>
            <pc:sldMk cId="2891771897" sldId="295"/>
            <ac:picMk id="16" creationId="{23069B77-FB11-4B57-945A-167877942B68}"/>
          </ac:picMkLst>
        </pc:picChg>
        <pc:picChg chg="mod">
          <ac:chgData name="Degroote,Dr.,Matthias (QC) BIM-NL-A" userId="41b105fd-0c60-4b73-9c68-f6bd9a3e273d" providerId="ADAL" clId="{EF0C7939-7608-4B49-B2D7-7F93E6CA63D9}" dt="2022-09-05T21:16:23.751" v="17640" actId="962"/>
          <ac:picMkLst>
            <pc:docMk/>
            <pc:sldMk cId="2891771897" sldId="295"/>
            <ac:picMk id="18" creationId="{43B7843B-DCE6-4B5A-95BD-58E26BFE3112}"/>
          </ac:picMkLst>
        </pc:picChg>
      </pc:sldChg>
      <pc:sldChg chg="addSp delSp modSp new mod modAnim">
        <pc:chgData name="Degroote,Dr.,Matthias (QC) BIM-NL-A" userId="41b105fd-0c60-4b73-9c68-f6bd9a3e273d" providerId="ADAL" clId="{EF0C7939-7608-4B49-B2D7-7F93E6CA63D9}" dt="2022-09-05T22:00:36.587" v="23061" actId="478"/>
        <pc:sldMkLst>
          <pc:docMk/>
          <pc:sldMk cId="931485833" sldId="296"/>
        </pc:sldMkLst>
        <pc:spChg chg="del">
          <ac:chgData name="Degroote,Dr.,Matthias (QC) BIM-NL-A" userId="41b105fd-0c60-4b73-9c68-f6bd9a3e273d" providerId="ADAL" clId="{EF0C7939-7608-4B49-B2D7-7F93E6CA63D9}" dt="2022-09-05T21:33:06.812" v="22465" actId="478"/>
          <ac:spMkLst>
            <pc:docMk/>
            <pc:sldMk cId="931485833" sldId="296"/>
            <ac:spMk id="2" creationId="{68F48E11-1438-48B5-8592-15DF8D62EFEB}"/>
          </ac:spMkLst>
        </pc:spChg>
        <pc:spChg chg="del">
          <ac:chgData name="Degroote,Dr.,Matthias (QC) BIM-NL-A" userId="41b105fd-0c60-4b73-9c68-f6bd9a3e273d" providerId="ADAL" clId="{EF0C7939-7608-4B49-B2D7-7F93E6CA63D9}" dt="2022-09-05T22:00:36.587" v="23061" actId="478"/>
          <ac:spMkLst>
            <pc:docMk/>
            <pc:sldMk cId="931485833" sldId="296"/>
            <ac:spMk id="3" creationId="{08787E46-8157-425F-A8F8-00613006ED76}"/>
          </ac:spMkLst>
        </pc:spChg>
        <pc:spChg chg="mod">
          <ac:chgData name="Degroote,Dr.,Matthias (QC) BIM-NL-A" userId="41b105fd-0c60-4b73-9c68-f6bd9a3e273d" providerId="ADAL" clId="{EF0C7939-7608-4B49-B2D7-7F93E6CA63D9}" dt="2022-09-05T21:32:02.543" v="22463" actId="20577"/>
          <ac:spMkLst>
            <pc:docMk/>
            <pc:sldMk cId="931485833" sldId="296"/>
            <ac:spMk id="5" creationId="{AABBA71D-8352-4FBB-80B0-93B29F1A7155}"/>
          </ac:spMkLst>
        </pc:spChg>
        <pc:spChg chg="add mod">
          <ac:chgData name="Degroote,Dr.,Matthias (QC) BIM-NL-A" userId="41b105fd-0c60-4b73-9c68-f6bd9a3e273d" providerId="ADAL" clId="{EF0C7939-7608-4B49-B2D7-7F93E6CA63D9}" dt="2022-09-05T21:36:26.938" v="22628" actId="14100"/>
          <ac:spMkLst>
            <pc:docMk/>
            <pc:sldMk cId="931485833" sldId="296"/>
            <ac:spMk id="10" creationId="{5A386153-2C03-43EC-9326-B68A0401ACBE}"/>
          </ac:spMkLst>
        </pc:spChg>
        <pc:spChg chg="add mod">
          <ac:chgData name="Degroote,Dr.,Matthias (QC) BIM-NL-A" userId="41b105fd-0c60-4b73-9c68-f6bd9a3e273d" providerId="ADAL" clId="{EF0C7939-7608-4B49-B2D7-7F93E6CA63D9}" dt="2022-09-05T21:44:31.721" v="22911" actId="14100"/>
          <ac:spMkLst>
            <pc:docMk/>
            <pc:sldMk cId="931485833" sldId="296"/>
            <ac:spMk id="11" creationId="{B2A483DC-96DF-4B3F-BA76-EDA36911ED72}"/>
          </ac:spMkLst>
        </pc:spChg>
        <pc:picChg chg="add mod">
          <ac:chgData name="Degroote,Dr.,Matthias (QC) BIM-NL-A" userId="41b105fd-0c60-4b73-9c68-f6bd9a3e273d" providerId="ADAL" clId="{EF0C7939-7608-4B49-B2D7-7F93E6CA63D9}" dt="2022-09-05T21:34:25.356" v="22474" actId="1076"/>
          <ac:picMkLst>
            <pc:docMk/>
            <pc:sldMk cId="931485833" sldId="296"/>
            <ac:picMk id="7" creationId="{456EB5AB-95BE-44A6-9D6E-0EF468B9394A}"/>
          </ac:picMkLst>
        </pc:picChg>
        <pc:picChg chg="add mod">
          <ac:chgData name="Degroote,Dr.,Matthias (QC) BIM-NL-A" userId="41b105fd-0c60-4b73-9c68-f6bd9a3e273d" providerId="ADAL" clId="{EF0C7939-7608-4B49-B2D7-7F93E6CA63D9}" dt="2022-09-05T21:34:31.783" v="22475" actId="1076"/>
          <ac:picMkLst>
            <pc:docMk/>
            <pc:sldMk cId="931485833" sldId="296"/>
            <ac:picMk id="9" creationId="{C0B69CDD-760E-47B7-B402-CF2E78D2C74E}"/>
          </ac:picMkLst>
        </pc:picChg>
      </pc:sldChg>
      <pc:sldChg chg="add del">
        <pc:chgData name="Degroote,Dr.,Matthias (QC) BIM-NL-A" userId="41b105fd-0c60-4b73-9c68-f6bd9a3e273d" providerId="ADAL" clId="{EF0C7939-7608-4B49-B2D7-7F93E6CA63D9}" dt="2022-09-05T22:42:44.067" v="24216" actId="47"/>
        <pc:sldMkLst>
          <pc:docMk/>
          <pc:sldMk cId="2805770634" sldId="297"/>
        </pc:sldMkLst>
      </pc:sldChg>
      <pc:sldChg chg="modSp add mod">
        <pc:chgData name="Degroote,Dr.,Matthias (QC) BIM-NL-A" userId="41b105fd-0c60-4b73-9c68-f6bd9a3e273d" providerId="ADAL" clId="{EF0C7939-7608-4B49-B2D7-7F93E6CA63D9}" dt="2022-09-05T22:42:31.453" v="24215" actId="20577"/>
        <pc:sldMkLst>
          <pc:docMk/>
          <pc:sldMk cId="2197515216" sldId="298"/>
        </pc:sldMkLst>
        <pc:spChg chg="mod">
          <ac:chgData name="Degroote,Dr.,Matthias (QC) BIM-NL-A" userId="41b105fd-0c60-4b73-9c68-f6bd9a3e273d" providerId="ADAL" clId="{EF0C7939-7608-4B49-B2D7-7F93E6CA63D9}" dt="2022-09-05T22:42:31.453" v="24215" actId="20577"/>
          <ac:spMkLst>
            <pc:docMk/>
            <pc:sldMk cId="2197515216" sldId="298"/>
            <ac:spMk id="3" creationId="{99D65627-B51E-4E9B-A3DD-C153CECBBC02}"/>
          </ac:spMkLst>
        </pc:spChg>
      </pc:sldChg>
      <pc:sldChg chg="addSp delSp modSp new mod modClrScheme chgLayout">
        <pc:chgData name="Degroote,Dr.,Matthias (QC) BIM-NL-A" userId="41b105fd-0c60-4b73-9c68-f6bd9a3e273d" providerId="ADAL" clId="{EF0C7939-7608-4B49-B2D7-7F93E6CA63D9}" dt="2022-09-09T00:01:53.499" v="25141" actId="962"/>
        <pc:sldMkLst>
          <pc:docMk/>
          <pc:sldMk cId="3059661714" sldId="299"/>
        </pc:sldMkLst>
        <pc:spChg chg="del mod ord">
          <ac:chgData name="Degroote,Dr.,Matthias (QC) BIM-NL-A" userId="41b105fd-0c60-4b73-9c68-f6bd9a3e273d" providerId="ADAL" clId="{EF0C7939-7608-4B49-B2D7-7F93E6CA63D9}" dt="2022-09-08T23:56:27.669" v="24225" actId="700"/>
          <ac:spMkLst>
            <pc:docMk/>
            <pc:sldMk cId="3059661714" sldId="299"/>
            <ac:spMk id="2" creationId="{AC439776-52F8-460D-8C49-B14289499005}"/>
          </ac:spMkLst>
        </pc:spChg>
        <pc:spChg chg="del">
          <ac:chgData name="Degroote,Dr.,Matthias (QC) BIM-NL-A" userId="41b105fd-0c60-4b73-9c68-f6bd9a3e273d" providerId="ADAL" clId="{EF0C7939-7608-4B49-B2D7-7F93E6CA63D9}" dt="2022-09-08T23:56:27.669" v="24225" actId="700"/>
          <ac:spMkLst>
            <pc:docMk/>
            <pc:sldMk cId="3059661714" sldId="299"/>
            <ac:spMk id="3" creationId="{CF1A61A1-9E91-458C-B71A-56E5BB34082F}"/>
          </ac:spMkLst>
        </pc:spChg>
        <pc:spChg chg="add mod ord">
          <ac:chgData name="Degroote,Dr.,Matthias (QC) BIM-NL-A" userId="41b105fd-0c60-4b73-9c68-f6bd9a3e273d" providerId="ADAL" clId="{EF0C7939-7608-4B49-B2D7-7F93E6CA63D9}" dt="2022-09-08T23:57:52.955" v="24267" actId="20577"/>
          <ac:spMkLst>
            <pc:docMk/>
            <pc:sldMk cId="3059661714" sldId="299"/>
            <ac:spMk id="4" creationId="{3B4EC48C-1B95-4CFF-9CC0-4E73A5EA3E9D}"/>
          </ac:spMkLst>
        </pc:spChg>
        <pc:spChg chg="add del mod ord">
          <ac:chgData name="Degroote,Dr.,Matthias (QC) BIM-NL-A" userId="41b105fd-0c60-4b73-9c68-f6bd9a3e273d" providerId="ADAL" clId="{EF0C7939-7608-4B49-B2D7-7F93E6CA63D9}" dt="2022-09-08T23:57:10.337" v="24228" actId="931"/>
          <ac:spMkLst>
            <pc:docMk/>
            <pc:sldMk cId="3059661714" sldId="299"/>
            <ac:spMk id="5" creationId="{A699D705-5F99-43B7-ABB2-DC31A710D6E0}"/>
          </ac:spMkLst>
        </pc:spChg>
        <pc:spChg chg="add del">
          <ac:chgData name="Degroote,Dr.,Matthias (QC) BIM-NL-A" userId="41b105fd-0c60-4b73-9c68-f6bd9a3e273d" providerId="ADAL" clId="{EF0C7939-7608-4B49-B2D7-7F93E6CA63D9}" dt="2022-09-08T23:56:35.669" v="24227" actId="478"/>
          <ac:spMkLst>
            <pc:docMk/>
            <pc:sldMk cId="3059661714" sldId="299"/>
            <ac:spMk id="6" creationId="{9BE7C013-2382-4AE1-8818-B6F963EA4558}"/>
          </ac:spMkLst>
        </pc:spChg>
        <pc:spChg chg="add mod">
          <ac:chgData name="Degroote,Dr.,Matthias (QC) BIM-NL-A" userId="41b105fd-0c60-4b73-9c68-f6bd9a3e273d" providerId="ADAL" clId="{EF0C7939-7608-4B49-B2D7-7F93E6CA63D9}" dt="2022-09-09T00:00:33.339" v="24399" actId="1076"/>
          <ac:spMkLst>
            <pc:docMk/>
            <pc:sldMk cId="3059661714" sldId="299"/>
            <ac:spMk id="9" creationId="{D84A035F-E0FA-4975-A942-9C0C19EC0668}"/>
          </ac:spMkLst>
        </pc:spChg>
        <pc:picChg chg="add mod">
          <ac:chgData name="Degroote,Dr.,Matthias (QC) BIM-NL-A" userId="41b105fd-0c60-4b73-9c68-f6bd9a3e273d" providerId="ADAL" clId="{EF0C7939-7608-4B49-B2D7-7F93E6CA63D9}" dt="2022-09-09T00:01:53.499" v="25141" actId="962"/>
          <ac:picMkLst>
            <pc:docMk/>
            <pc:sldMk cId="3059661714" sldId="299"/>
            <ac:picMk id="8" creationId="{9DFF3580-1F91-418E-935A-D4E1265A7B35}"/>
          </ac:picMkLst>
        </pc:picChg>
      </pc:sldChg>
      <pc:sldChg chg="modSp add mod">
        <pc:chgData name="Degroote,Dr.,Matthias (QC) BIM-NL-A" userId="41b105fd-0c60-4b73-9c68-f6bd9a3e273d" providerId="ADAL" clId="{EF0C7939-7608-4B49-B2D7-7F93E6CA63D9}" dt="2022-09-09T06:19:32.908" v="28624" actId="20577"/>
        <pc:sldMkLst>
          <pc:docMk/>
          <pc:sldMk cId="465867928" sldId="300"/>
        </pc:sldMkLst>
        <pc:spChg chg="mod">
          <ac:chgData name="Degroote,Dr.,Matthias (QC) BIM-NL-A" userId="41b105fd-0c60-4b73-9c68-f6bd9a3e273d" providerId="ADAL" clId="{EF0C7939-7608-4B49-B2D7-7F93E6CA63D9}" dt="2022-09-09T06:19:32.908" v="28624" actId="20577"/>
          <ac:spMkLst>
            <pc:docMk/>
            <pc:sldMk cId="465867928" sldId="300"/>
            <ac:spMk id="2" creationId="{6FD36D0D-83E3-48DD-B629-CB823FD06C50}"/>
          </ac:spMkLst>
        </pc:spChg>
      </pc:sldChg>
      <pc:sldChg chg="addSp delSp modSp new mod">
        <pc:chgData name="Degroote,Dr.,Matthias (QC) BIM-NL-A" userId="41b105fd-0c60-4b73-9c68-f6bd9a3e273d" providerId="ADAL" clId="{EF0C7939-7608-4B49-B2D7-7F93E6CA63D9}" dt="2022-09-09T06:17:46.572" v="28572" actId="962"/>
        <pc:sldMkLst>
          <pc:docMk/>
          <pc:sldMk cId="4180091785" sldId="301"/>
        </pc:sldMkLst>
        <pc:spChg chg="mod">
          <ac:chgData name="Degroote,Dr.,Matthias (QC) BIM-NL-A" userId="41b105fd-0c60-4b73-9c68-f6bd9a3e273d" providerId="ADAL" clId="{EF0C7939-7608-4B49-B2D7-7F93E6CA63D9}" dt="2022-09-09T00:45:36.936" v="25692" actId="20577"/>
          <ac:spMkLst>
            <pc:docMk/>
            <pc:sldMk cId="4180091785" sldId="301"/>
            <ac:spMk id="4" creationId="{83F78170-F0F1-4B93-A4B3-07D713A87BC2}"/>
          </ac:spMkLst>
        </pc:spChg>
        <pc:spChg chg="del">
          <ac:chgData name="Degroote,Dr.,Matthias (QC) BIM-NL-A" userId="41b105fd-0c60-4b73-9c68-f6bd9a3e273d" providerId="ADAL" clId="{EF0C7939-7608-4B49-B2D7-7F93E6CA63D9}" dt="2022-09-09T00:45:26.657" v="25663" actId="478"/>
          <ac:spMkLst>
            <pc:docMk/>
            <pc:sldMk cId="4180091785" sldId="301"/>
            <ac:spMk id="5" creationId="{5CB8AD8C-6259-46F5-97E0-32486C752362}"/>
          </ac:spMkLst>
        </pc:spChg>
        <pc:spChg chg="add mod">
          <ac:chgData name="Degroote,Dr.,Matthias (QC) BIM-NL-A" userId="41b105fd-0c60-4b73-9c68-f6bd9a3e273d" providerId="ADAL" clId="{EF0C7939-7608-4B49-B2D7-7F93E6CA63D9}" dt="2022-09-09T00:48:43.743" v="25866" actId="14100"/>
          <ac:spMkLst>
            <pc:docMk/>
            <pc:sldMk cId="4180091785" sldId="301"/>
            <ac:spMk id="12" creationId="{84C4AC51-19AD-419E-B1D6-0CAC16DED1FB}"/>
          </ac:spMkLst>
        </pc:spChg>
        <pc:spChg chg="add mod">
          <ac:chgData name="Degroote,Dr.,Matthias (QC) BIM-NL-A" userId="41b105fd-0c60-4b73-9c68-f6bd9a3e273d" providerId="ADAL" clId="{EF0C7939-7608-4B49-B2D7-7F93E6CA63D9}" dt="2022-09-09T00:51:03.261" v="26081" actId="14100"/>
          <ac:spMkLst>
            <pc:docMk/>
            <pc:sldMk cId="4180091785" sldId="301"/>
            <ac:spMk id="13" creationId="{53CEA696-415B-4E7F-AA61-066A74676B94}"/>
          </ac:spMkLst>
        </pc:spChg>
        <pc:picChg chg="add mod">
          <ac:chgData name="Degroote,Dr.,Matthias (QC) BIM-NL-A" userId="41b105fd-0c60-4b73-9c68-f6bd9a3e273d" providerId="ADAL" clId="{EF0C7939-7608-4B49-B2D7-7F93E6CA63D9}" dt="2022-09-09T06:17:12.593" v="28302" actId="1038"/>
          <ac:picMkLst>
            <pc:docMk/>
            <pc:sldMk cId="4180091785" sldId="301"/>
            <ac:picMk id="7" creationId="{0DA82535-8D49-41AE-A62F-BE1EC6F4C69E}"/>
          </ac:picMkLst>
        </pc:picChg>
        <pc:picChg chg="add del mod">
          <ac:chgData name="Degroote,Dr.,Matthias (QC) BIM-NL-A" userId="41b105fd-0c60-4b73-9c68-f6bd9a3e273d" providerId="ADAL" clId="{EF0C7939-7608-4B49-B2D7-7F93E6CA63D9}" dt="2022-09-09T00:47:02.543" v="25699" actId="478"/>
          <ac:picMkLst>
            <pc:docMk/>
            <pc:sldMk cId="4180091785" sldId="301"/>
            <ac:picMk id="9" creationId="{EC85B200-790C-4BC9-A952-CA9EBA59DCF9}"/>
          </ac:picMkLst>
        </pc:picChg>
        <pc:picChg chg="add mod">
          <ac:chgData name="Degroote,Dr.,Matthias (QC) BIM-NL-A" userId="41b105fd-0c60-4b73-9c68-f6bd9a3e273d" providerId="ADAL" clId="{EF0C7939-7608-4B49-B2D7-7F93E6CA63D9}" dt="2022-09-09T06:17:12.593" v="28302" actId="1038"/>
          <ac:picMkLst>
            <pc:docMk/>
            <pc:sldMk cId="4180091785" sldId="301"/>
            <ac:picMk id="11" creationId="{737347B3-5FDB-4B9B-94C9-64EDF4B989C4}"/>
          </ac:picMkLst>
        </pc:picChg>
        <pc:picChg chg="add mod">
          <ac:chgData name="Degroote,Dr.,Matthias (QC) BIM-NL-A" userId="41b105fd-0c60-4b73-9c68-f6bd9a3e273d" providerId="ADAL" clId="{EF0C7939-7608-4B49-B2D7-7F93E6CA63D9}" dt="2022-09-09T06:17:46.572" v="28572" actId="962"/>
          <ac:picMkLst>
            <pc:docMk/>
            <pc:sldMk cId="4180091785" sldId="301"/>
            <ac:picMk id="15" creationId="{8107DEA0-C2FE-4522-A139-F2824FB779B7}"/>
          </ac:picMkLst>
        </pc:picChg>
      </pc:sldChg>
      <pc:sldChg chg="add">
        <pc:chgData name="Degroote,Dr.,Matthias (QC) BIM-NL-A" userId="41b105fd-0c60-4b73-9c68-f6bd9a3e273d" providerId="ADAL" clId="{EF0C7939-7608-4B49-B2D7-7F93E6CA63D9}" dt="2022-09-09T00:54:20.318" v="26522"/>
        <pc:sldMkLst>
          <pc:docMk/>
          <pc:sldMk cId="2982102917" sldId="2146846979"/>
        </pc:sldMkLst>
      </pc:sldChg>
      <pc:sldChg chg="modSp add mod">
        <pc:chgData name="Degroote,Dr.,Matthias (QC) BIM-NL-A" userId="41b105fd-0c60-4b73-9c68-f6bd9a3e273d" providerId="ADAL" clId="{EF0C7939-7608-4B49-B2D7-7F93E6CA63D9}" dt="2022-09-09T00:54:45.958" v="26602" actId="20577"/>
        <pc:sldMkLst>
          <pc:docMk/>
          <pc:sldMk cId="2815579687" sldId="2146846982"/>
        </pc:sldMkLst>
        <pc:spChg chg="mod">
          <ac:chgData name="Degroote,Dr.,Matthias (QC) BIM-NL-A" userId="41b105fd-0c60-4b73-9c68-f6bd9a3e273d" providerId="ADAL" clId="{EF0C7939-7608-4B49-B2D7-7F93E6CA63D9}" dt="2022-09-09T00:54:45.958" v="26602" actId="20577"/>
          <ac:spMkLst>
            <pc:docMk/>
            <pc:sldMk cId="2815579687" sldId="2146846982"/>
            <ac:spMk id="5" creationId="{DF22D0E2-1AB3-414C-A16E-4192742BA946}"/>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BF22AB-4915-4299-937D-5275BDA9D97B}" type="doc">
      <dgm:prSet loTypeId="urn:microsoft.com/office/officeart/2016/7/layout/LinearBlockProcessNumbered" loCatId="process" qsTypeId="urn:microsoft.com/office/officeart/2005/8/quickstyle/simple1" qsCatId="simple" csTypeId="urn:microsoft.com/office/officeart/2005/8/colors/accent1_2" csCatId="accent1"/>
      <dgm:spPr/>
      <dgm:t>
        <a:bodyPr/>
        <a:lstStyle/>
        <a:p>
          <a:endParaRPr lang="en-US"/>
        </a:p>
      </dgm:t>
    </dgm:pt>
    <dgm:pt modelId="{949F3232-283C-4DBB-84B7-8E652BD68850}">
      <dgm:prSet/>
      <dgm:spPr/>
      <dgm:t>
        <a:bodyPr/>
        <a:lstStyle/>
        <a:p>
          <a:r>
            <a:rPr lang="en-US" dirty="0"/>
            <a:t>Find out what is possible</a:t>
          </a:r>
        </a:p>
      </dgm:t>
    </dgm:pt>
    <dgm:pt modelId="{F0742164-32A2-47B4-A7A3-C510BC62EF8D}" type="parTrans" cxnId="{0D3FC255-6A97-482D-8EB3-C21249E1D6BC}">
      <dgm:prSet/>
      <dgm:spPr/>
      <dgm:t>
        <a:bodyPr/>
        <a:lstStyle/>
        <a:p>
          <a:endParaRPr lang="en-US"/>
        </a:p>
      </dgm:t>
    </dgm:pt>
    <dgm:pt modelId="{914C529B-942C-46FB-AB12-CB6E886C71AE}" type="sibTrans" cxnId="{0D3FC255-6A97-482D-8EB3-C21249E1D6BC}">
      <dgm:prSet phldrT="01" phldr="0"/>
      <dgm:spPr/>
      <dgm:t>
        <a:bodyPr/>
        <a:lstStyle/>
        <a:p>
          <a:r>
            <a:rPr lang="en-US"/>
            <a:t>01</a:t>
          </a:r>
          <a:endParaRPr lang="en-US" dirty="0"/>
        </a:p>
      </dgm:t>
    </dgm:pt>
    <dgm:pt modelId="{2C3BB6DF-DCBB-4B73-AADE-10ADC56DA965}">
      <dgm:prSet/>
      <dgm:spPr/>
      <dgm:t>
        <a:bodyPr/>
        <a:lstStyle/>
        <a:p>
          <a:r>
            <a:rPr lang="en-US"/>
            <a:t>Figure out what is real</a:t>
          </a:r>
        </a:p>
      </dgm:t>
    </dgm:pt>
    <dgm:pt modelId="{B089EFD9-305C-4FD1-A006-69755E00DD1D}" type="parTrans" cxnId="{64C860E1-A2B6-4505-9803-77569C324E41}">
      <dgm:prSet/>
      <dgm:spPr/>
      <dgm:t>
        <a:bodyPr/>
        <a:lstStyle/>
        <a:p>
          <a:endParaRPr lang="en-US"/>
        </a:p>
      </dgm:t>
    </dgm:pt>
    <dgm:pt modelId="{FC0AA730-2E29-4178-8E55-235FAEC56CFC}" type="sibTrans" cxnId="{64C860E1-A2B6-4505-9803-77569C324E41}">
      <dgm:prSet phldrT="02" phldr="0"/>
      <dgm:spPr/>
      <dgm:t>
        <a:bodyPr/>
        <a:lstStyle/>
        <a:p>
          <a:r>
            <a:rPr lang="en-US"/>
            <a:t>02</a:t>
          </a:r>
        </a:p>
      </dgm:t>
    </dgm:pt>
    <dgm:pt modelId="{25E3B9FF-31C1-4412-8A1C-EFB801B02CFC}">
      <dgm:prSet/>
      <dgm:spPr/>
      <dgm:t>
        <a:bodyPr/>
        <a:lstStyle/>
        <a:p>
          <a:r>
            <a:rPr lang="en-US"/>
            <a:t>Create what is missing</a:t>
          </a:r>
        </a:p>
      </dgm:t>
    </dgm:pt>
    <dgm:pt modelId="{DB67AC7E-1968-47DD-BD9B-44E50B7BA349}" type="parTrans" cxnId="{9A8698D0-4965-4AFA-B109-BD9204B0D1AF}">
      <dgm:prSet/>
      <dgm:spPr/>
      <dgm:t>
        <a:bodyPr/>
        <a:lstStyle/>
        <a:p>
          <a:endParaRPr lang="en-US"/>
        </a:p>
      </dgm:t>
    </dgm:pt>
    <dgm:pt modelId="{5B80548B-E843-4213-9869-7C501DE0E0DF}" type="sibTrans" cxnId="{9A8698D0-4965-4AFA-B109-BD9204B0D1AF}">
      <dgm:prSet phldrT="03" phldr="0"/>
      <dgm:spPr/>
      <dgm:t>
        <a:bodyPr/>
        <a:lstStyle/>
        <a:p>
          <a:r>
            <a:rPr lang="en-US"/>
            <a:t>03</a:t>
          </a:r>
        </a:p>
      </dgm:t>
    </dgm:pt>
    <dgm:pt modelId="{14E42527-4982-4BE2-A8FC-D04BAA62BD47}" type="pres">
      <dgm:prSet presAssocID="{DEBF22AB-4915-4299-937D-5275BDA9D97B}" presName="Name0" presStyleCnt="0">
        <dgm:presLayoutVars>
          <dgm:animLvl val="lvl"/>
          <dgm:resizeHandles val="exact"/>
        </dgm:presLayoutVars>
      </dgm:prSet>
      <dgm:spPr/>
    </dgm:pt>
    <dgm:pt modelId="{C77AFB8A-BCA4-44EF-AAA1-70EAB13FA465}" type="pres">
      <dgm:prSet presAssocID="{949F3232-283C-4DBB-84B7-8E652BD68850}" presName="compositeNode" presStyleCnt="0">
        <dgm:presLayoutVars>
          <dgm:bulletEnabled val="1"/>
        </dgm:presLayoutVars>
      </dgm:prSet>
      <dgm:spPr/>
    </dgm:pt>
    <dgm:pt modelId="{A3001095-26EB-48F7-804B-A8EF3194E263}" type="pres">
      <dgm:prSet presAssocID="{949F3232-283C-4DBB-84B7-8E652BD68850}" presName="bgRect" presStyleLbl="alignNode1" presStyleIdx="0" presStyleCnt="3"/>
      <dgm:spPr/>
    </dgm:pt>
    <dgm:pt modelId="{DF9E5228-FCBE-4A2C-96DD-07F02ED73303}" type="pres">
      <dgm:prSet presAssocID="{914C529B-942C-46FB-AB12-CB6E886C71AE}" presName="sibTransNodeRect" presStyleLbl="alignNode1" presStyleIdx="0" presStyleCnt="3">
        <dgm:presLayoutVars>
          <dgm:chMax val="0"/>
          <dgm:bulletEnabled val="1"/>
        </dgm:presLayoutVars>
      </dgm:prSet>
      <dgm:spPr/>
    </dgm:pt>
    <dgm:pt modelId="{FE7922C4-2E61-48B4-A22C-66DEE2E1D7D2}" type="pres">
      <dgm:prSet presAssocID="{949F3232-283C-4DBB-84B7-8E652BD68850}" presName="nodeRect" presStyleLbl="alignNode1" presStyleIdx="0" presStyleCnt="3">
        <dgm:presLayoutVars>
          <dgm:bulletEnabled val="1"/>
        </dgm:presLayoutVars>
      </dgm:prSet>
      <dgm:spPr/>
    </dgm:pt>
    <dgm:pt modelId="{F3A4583B-7F31-4746-B53E-A3DDEC3247F6}" type="pres">
      <dgm:prSet presAssocID="{914C529B-942C-46FB-AB12-CB6E886C71AE}" presName="sibTrans" presStyleCnt="0"/>
      <dgm:spPr/>
    </dgm:pt>
    <dgm:pt modelId="{47EFCB88-7E00-4F41-9BCF-BA87EDD94A28}" type="pres">
      <dgm:prSet presAssocID="{2C3BB6DF-DCBB-4B73-AADE-10ADC56DA965}" presName="compositeNode" presStyleCnt="0">
        <dgm:presLayoutVars>
          <dgm:bulletEnabled val="1"/>
        </dgm:presLayoutVars>
      </dgm:prSet>
      <dgm:spPr/>
    </dgm:pt>
    <dgm:pt modelId="{D25AA693-4876-4264-9661-D0F729B76DE5}" type="pres">
      <dgm:prSet presAssocID="{2C3BB6DF-DCBB-4B73-AADE-10ADC56DA965}" presName="bgRect" presStyleLbl="alignNode1" presStyleIdx="1" presStyleCnt="3"/>
      <dgm:spPr/>
    </dgm:pt>
    <dgm:pt modelId="{1E9AF2D6-1C6D-4F59-9666-D3363AEB6949}" type="pres">
      <dgm:prSet presAssocID="{FC0AA730-2E29-4178-8E55-235FAEC56CFC}" presName="sibTransNodeRect" presStyleLbl="alignNode1" presStyleIdx="1" presStyleCnt="3">
        <dgm:presLayoutVars>
          <dgm:chMax val="0"/>
          <dgm:bulletEnabled val="1"/>
        </dgm:presLayoutVars>
      </dgm:prSet>
      <dgm:spPr/>
    </dgm:pt>
    <dgm:pt modelId="{FDB2BC77-E4FB-48DE-BA6E-ACE63D39C146}" type="pres">
      <dgm:prSet presAssocID="{2C3BB6DF-DCBB-4B73-AADE-10ADC56DA965}" presName="nodeRect" presStyleLbl="alignNode1" presStyleIdx="1" presStyleCnt="3">
        <dgm:presLayoutVars>
          <dgm:bulletEnabled val="1"/>
        </dgm:presLayoutVars>
      </dgm:prSet>
      <dgm:spPr/>
    </dgm:pt>
    <dgm:pt modelId="{B4FE1B55-68F4-46EB-9647-AED506602FCB}" type="pres">
      <dgm:prSet presAssocID="{FC0AA730-2E29-4178-8E55-235FAEC56CFC}" presName="sibTrans" presStyleCnt="0"/>
      <dgm:spPr/>
    </dgm:pt>
    <dgm:pt modelId="{0A1B215A-DB95-4157-887F-275776E51C44}" type="pres">
      <dgm:prSet presAssocID="{25E3B9FF-31C1-4412-8A1C-EFB801B02CFC}" presName="compositeNode" presStyleCnt="0">
        <dgm:presLayoutVars>
          <dgm:bulletEnabled val="1"/>
        </dgm:presLayoutVars>
      </dgm:prSet>
      <dgm:spPr/>
    </dgm:pt>
    <dgm:pt modelId="{35077042-2438-4369-905E-E095DC7F3237}" type="pres">
      <dgm:prSet presAssocID="{25E3B9FF-31C1-4412-8A1C-EFB801B02CFC}" presName="bgRect" presStyleLbl="alignNode1" presStyleIdx="2" presStyleCnt="3"/>
      <dgm:spPr/>
    </dgm:pt>
    <dgm:pt modelId="{88DA1B9F-BEA7-404D-9CE2-16BA0EFD9CF2}" type="pres">
      <dgm:prSet presAssocID="{5B80548B-E843-4213-9869-7C501DE0E0DF}" presName="sibTransNodeRect" presStyleLbl="alignNode1" presStyleIdx="2" presStyleCnt="3">
        <dgm:presLayoutVars>
          <dgm:chMax val="0"/>
          <dgm:bulletEnabled val="1"/>
        </dgm:presLayoutVars>
      </dgm:prSet>
      <dgm:spPr/>
    </dgm:pt>
    <dgm:pt modelId="{CAA31E31-E57A-4DBE-A4F6-0D6D5A484945}" type="pres">
      <dgm:prSet presAssocID="{25E3B9FF-31C1-4412-8A1C-EFB801B02CFC}" presName="nodeRect" presStyleLbl="alignNode1" presStyleIdx="2" presStyleCnt="3">
        <dgm:presLayoutVars>
          <dgm:bulletEnabled val="1"/>
        </dgm:presLayoutVars>
      </dgm:prSet>
      <dgm:spPr/>
    </dgm:pt>
  </dgm:ptLst>
  <dgm:cxnLst>
    <dgm:cxn modelId="{6805C701-AEAD-438B-993B-96C0468BFAAE}" type="presOf" srcId="{914C529B-942C-46FB-AB12-CB6E886C71AE}" destId="{DF9E5228-FCBE-4A2C-96DD-07F02ED73303}" srcOrd="0" destOrd="0" presId="urn:microsoft.com/office/officeart/2016/7/layout/LinearBlockProcessNumbered"/>
    <dgm:cxn modelId="{62809F10-71D7-40AC-9788-ECD511B48299}" type="presOf" srcId="{25E3B9FF-31C1-4412-8A1C-EFB801B02CFC}" destId="{CAA31E31-E57A-4DBE-A4F6-0D6D5A484945}" srcOrd="1" destOrd="0" presId="urn:microsoft.com/office/officeart/2016/7/layout/LinearBlockProcessNumbered"/>
    <dgm:cxn modelId="{47093F11-5A47-49FE-B40E-4F8E2711B73D}" type="presOf" srcId="{949F3232-283C-4DBB-84B7-8E652BD68850}" destId="{A3001095-26EB-48F7-804B-A8EF3194E263}" srcOrd="0" destOrd="0" presId="urn:microsoft.com/office/officeart/2016/7/layout/LinearBlockProcessNumbered"/>
    <dgm:cxn modelId="{2FC1D124-89BA-49E3-8A19-27FC3FDC7D88}" type="presOf" srcId="{2C3BB6DF-DCBB-4B73-AADE-10ADC56DA965}" destId="{FDB2BC77-E4FB-48DE-BA6E-ACE63D39C146}" srcOrd="1" destOrd="0" presId="urn:microsoft.com/office/officeart/2016/7/layout/LinearBlockProcessNumbered"/>
    <dgm:cxn modelId="{0D3FC255-6A97-482D-8EB3-C21249E1D6BC}" srcId="{DEBF22AB-4915-4299-937D-5275BDA9D97B}" destId="{949F3232-283C-4DBB-84B7-8E652BD68850}" srcOrd="0" destOrd="0" parTransId="{F0742164-32A2-47B4-A7A3-C510BC62EF8D}" sibTransId="{914C529B-942C-46FB-AB12-CB6E886C71AE}"/>
    <dgm:cxn modelId="{EBA0477D-AC5F-46F1-B4E5-76B5E07A847A}" type="presOf" srcId="{DEBF22AB-4915-4299-937D-5275BDA9D97B}" destId="{14E42527-4982-4BE2-A8FC-D04BAA62BD47}" srcOrd="0" destOrd="0" presId="urn:microsoft.com/office/officeart/2016/7/layout/LinearBlockProcessNumbered"/>
    <dgm:cxn modelId="{D1237F97-9211-4016-A3E7-15E05062CAAE}" type="presOf" srcId="{FC0AA730-2E29-4178-8E55-235FAEC56CFC}" destId="{1E9AF2D6-1C6D-4F59-9666-D3363AEB6949}" srcOrd="0" destOrd="0" presId="urn:microsoft.com/office/officeart/2016/7/layout/LinearBlockProcessNumbered"/>
    <dgm:cxn modelId="{467760C9-8E9F-4530-9FAF-DE831277DE39}" type="presOf" srcId="{2C3BB6DF-DCBB-4B73-AADE-10ADC56DA965}" destId="{D25AA693-4876-4264-9661-D0F729B76DE5}" srcOrd="0" destOrd="0" presId="urn:microsoft.com/office/officeart/2016/7/layout/LinearBlockProcessNumbered"/>
    <dgm:cxn modelId="{D5D9A0CD-08FC-4B11-A298-94DA84F92AF1}" type="presOf" srcId="{25E3B9FF-31C1-4412-8A1C-EFB801B02CFC}" destId="{35077042-2438-4369-905E-E095DC7F3237}" srcOrd="0" destOrd="0" presId="urn:microsoft.com/office/officeart/2016/7/layout/LinearBlockProcessNumbered"/>
    <dgm:cxn modelId="{9A8698D0-4965-4AFA-B109-BD9204B0D1AF}" srcId="{DEBF22AB-4915-4299-937D-5275BDA9D97B}" destId="{25E3B9FF-31C1-4412-8A1C-EFB801B02CFC}" srcOrd="2" destOrd="0" parTransId="{DB67AC7E-1968-47DD-BD9B-44E50B7BA349}" sibTransId="{5B80548B-E843-4213-9869-7C501DE0E0DF}"/>
    <dgm:cxn modelId="{9CF423D6-1630-4B7D-A1F7-02EC97672B01}" type="presOf" srcId="{949F3232-283C-4DBB-84B7-8E652BD68850}" destId="{FE7922C4-2E61-48B4-A22C-66DEE2E1D7D2}" srcOrd="1" destOrd="0" presId="urn:microsoft.com/office/officeart/2016/7/layout/LinearBlockProcessNumbered"/>
    <dgm:cxn modelId="{64C860E1-A2B6-4505-9803-77569C324E41}" srcId="{DEBF22AB-4915-4299-937D-5275BDA9D97B}" destId="{2C3BB6DF-DCBB-4B73-AADE-10ADC56DA965}" srcOrd="1" destOrd="0" parTransId="{B089EFD9-305C-4FD1-A006-69755E00DD1D}" sibTransId="{FC0AA730-2E29-4178-8E55-235FAEC56CFC}"/>
    <dgm:cxn modelId="{CFFC26FA-4403-4764-894A-71B3524ECF7A}" type="presOf" srcId="{5B80548B-E843-4213-9869-7C501DE0E0DF}" destId="{88DA1B9F-BEA7-404D-9CE2-16BA0EFD9CF2}" srcOrd="0" destOrd="0" presId="urn:microsoft.com/office/officeart/2016/7/layout/LinearBlockProcessNumbered"/>
    <dgm:cxn modelId="{05CAE0BD-8F64-4318-A723-8B2B6ABE37B3}" type="presParOf" srcId="{14E42527-4982-4BE2-A8FC-D04BAA62BD47}" destId="{C77AFB8A-BCA4-44EF-AAA1-70EAB13FA465}" srcOrd="0" destOrd="0" presId="urn:microsoft.com/office/officeart/2016/7/layout/LinearBlockProcessNumbered"/>
    <dgm:cxn modelId="{C7F7AC37-4786-4A28-BCD5-2BAEF86FC7F7}" type="presParOf" srcId="{C77AFB8A-BCA4-44EF-AAA1-70EAB13FA465}" destId="{A3001095-26EB-48F7-804B-A8EF3194E263}" srcOrd="0" destOrd="0" presId="urn:microsoft.com/office/officeart/2016/7/layout/LinearBlockProcessNumbered"/>
    <dgm:cxn modelId="{2A38B98D-CF46-44D6-A82B-1EFD7FFE058F}" type="presParOf" srcId="{C77AFB8A-BCA4-44EF-AAA1-70EAB13FA465}" destId="{DF9E5228-FCBE-4A2C-96DD-07F02ED73303}" srcOrd="1" destOrd="0" presId="urn:microsoft.com/office/officeart/2016/7/layout/LinearBlockProcessNumbered"/>
    <dgm:cxn modelId="{EDD44C40-2A8C-497E-95D2-FFEF5AA4057C}" type="presParOf" srcId="{C77AFB8A-BCA4-44EF-AAA1-70EAB13FA465}" destId="{FE7922C4-2E61-48B4-A22C-66DEE2E1D7D2}" srcOrd="2" destOrd="0" presId="urn:microsoft.com/office/officeart/2016/7/layout/LinearBlockProcessNumbered"/>
    <dgm:cxn modelId="{926A871A-A515-42B0-A5F6-BC2DB2032484}" type="presParOf" srcId="{14E42527-4982-4BE2-A8FC-D04BAA62BD47}" destId="{F3A4583B-7F31-4746-B53E-A3DDEC3247F6}" srcOrd="1" destOrd="0" presId="urn:microsoft.com/office/officeart/2016/7/layout/LinearBlockProcessNumbered"/>
    <dgm:cxn modelId="{94CE8357-95EE-41A9-B68E-A5D2B933705E}" type="presParOf" srcId="{14E42527-4982-4BE2-A8FC-D04BAA62BD47}" destId="{47EFCB88-7E00-4F41-9BCF-BA87EDD94A28}" srcOrd="2" destOrd="0" presId="urn:microsoft.com/office/officeart/2016/7/layout/LinearBlockProcessNumbered"/>
    <dgm:cxn modelId="{DC3CEF65-7E08-468E-A253-D4FB83943018}" type="presParOf" srcId="{47EFCB88-7E00-4F41-9BCF-BA87EDD94A28}" destId="{D25AA693-4876-4264-9661-D0F729B76DE5}" srcOrd="0" destOrd="0" presId="urn:microsoft.com/office/officeart/2016/7/layout/LinearBlockProcessNumbered"/>
    <dgm:cxn modelId="{A9D6E8B0-9795-45E5-BD28-872AF265732A}" type="presParOf" srcId="{47EFCB88-7E00-4F41-9BCF-BA87EDD94A28}" destId="{1E9AF2D6-1C6D-4F59-9666-D3363AEB6949}" srcOrd="1" destOrd="0" presId="urn:microsoft.com/office/officeart/2016/7/layout/LinearBlockProcessNumbered"/>
    <dgm:cxn modelId="{ECED1E6F-D284-4503-AE1A-71C1F858B6E8}" type="presParOf" srcId="{47EFCB88-7E00-4F41-9BCF-BA87EDD94A28}" destId="{FDB2BC77-E4FB-48DE-BA6E-ACE63D39C146}" srcOrd="2" destOrd="0" presId="urn:microsoft.com/office/officeart/2016/7/layout/LinearBlockProcessNumbered"/>
    <dgm:cxn modelId="{B3D0D5BF-BE43-474A-8F13-32117D713E02}" type="presParOf" srcId="{14E42527-4982-4BE2-A8FC-D04BAA62BD47}" destId="{B4FE1B55-68F4-46EB-9647-AED506602FCB}" srcOrd="3" destOrd="0" presId="urn:microsoft.com/office/officeart/2016/7/layout/LinearBlockProcessNumbered"/>
    <dgm:cxn modelId="{A954456C-1F86-4BFE-AB57-812EA474C0AA}" type="presParOf" srcId="{14E42527-4982-4BE2-A8FC-D04BAA62BD47}" destId="{0A1B215A-DB95-4157-887F-275776E51C44}" srcOrd="4" destOrd="0" presId="urn:microsoft.com/office/officeart/2016/7/layout/LinearBlockProcessNumbered"/>
    <dgm:cxn modelId="{E4C739A5-0B29-424B-8C87-C1A32020B412}" type="presParOf" srcId="{0A1B215A-DB95-4157-887F-275776E51C44}" destId="{35077042-2438-4369-905E-E095DC7F3237}" srcOrd="0" destOrd="0" presId="urn:microsoft.com/office/officeart/2016/7/layout/LinearBlockProcessNumbered"/>
    <dgm:cxn modelId="{EBC84139-BEAD-4F9D-A420-A5EC2A395D95}" type="presParOf" srcId="{0A1B215A-DB95-4157-887F-275776E51C44}" destId="{88DA1B9F-BEA7-404D-9CE2-16BA0EFD9CF2}" srcOrd="1" destOrd="0" presId="urn:microsoft.com/office/officeart/2016/7/layout/LinearBlockProcessNumbered"/>
    <dgm:cxn modelId="{801A4543-86A5-4C80-926E-575CCF73928F}" type="presParOf" srcId="{0A1B215A-DB95-4157-887F-275776E51C44}" destId="{CAA31E31-E57A-4DBE-A4F6-0D6D5A484945}" srcOrd="2" destOrd="0" presId="urn:microsoft.com/office/officeart/2016/7/layout/LinearBlockProcessNumbered"/>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001095-26EB-48F7-804B-A8EF3194E263}">
      <dsp:nvSpPr>
        <dsp:cNvPr id="0" name=""/>
        <dsp:cNvSpPr/>
      </dsp:nvSpPr>
      <dsp:spPr>
        <a:xfrm>
          <a:off x="656" y="100868"/>
          <a:ext cx="2660612" cy="3192735"/>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2809" tIns="0" rIns="262809" bIns="330200" numCol="1" spcCol="1270" anchor="t" anchorCtr="0">
          <a:noAutofit/>
        </a:bodyPr>
        <a:lstStyle/>
        <a:p>
          <a:pPr marL="0" lvl="0" indent="0" algn="l" defTabSz="1155700">
            <a:lnSpc>
              <a:spcPct val="90000"/>
            </a:lnSpc>
            <a:spcBef>
              <a:spcPct val="0"/>
            </a:spcBef>
            <a:spcAft>
              <a:spcPct val="35000"/>
            </a:spcAft>
            <a:buNone/>
          </a:pPr>
          <a:r>
            <a:rPr lang="en-US" sz="2600" kern="1200" dirty="0"/>
            <a:t>Find out what is possible</a:t>
          </a:r>
        </a:p>
      </dsp:txBody>
      <dsp:txXfrm>
        <a:off x="656" y="1377962"/>
        <a:ext cx="2660612" cy="1915641"/>
      </dsp:txXfrm>
    </dsp:sp>
    <dsp:sp modelId="{DF9E5228-FCBE-4A2C-96DD-07F02ED73303}">
      <dsp:nvSpPr>
        <dsp:cNvPr id="0" name=""/>
        <dsp:cNvSpPr/>
      </dsp:nvSpPr>
      <dsp:spPr>
        <a:xfrm>
          <a:off x="656" y="100868"/>
          <a:ext cx="2660612" cy="1277094"/>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262809" tIns="165100" rIns="262809" bIns="165100" numCol="1" spcCol="1270" anchor="ctr" anchorCtr="0">
          <a:noAutofit/>
        </a:bodyPr>
        <a:lstStyle/>
        <a:p>
          <a:pPr marL="0" lvl="0" indent="0" algn="l" defTabSz="2933700">
            <a:lnSpc>
              <a:spcPct val="90000"/>
            </a:lnSpc>
            <a:spcBef>
              <a:spcPct val="0"/>
            </a:spcBef>
            <a:spcAft>
              <a:spcPct val="35000"/>
            </a:spcAft>
            <a:buNone/>
          </a:pPr>
          <a:r>
            <a:rPr lang="en-US" sz="6600" kern="1200"/>
            <a:t>01</a:t>
          </a:r>
          <a:endParaRPr lang="en-US" sz="6600" kern="1200" dirty="0"/>
        </a:p>
      </dsp:txBody>
      <dsp:txXfrm>
        <a:off x="656" y="100868"/>
        <a:ext cx="2660612" cy="1277094"/>
      </dsp:txXfrm>
    </dsp:sp>
    <dsp:sp modelId="{D25AA693-4876-4264-9661-D0F729B76DE5}">
      <dsp:nvSpPr>
        <dsp:cNvPr id="0" name=""/>
        <dsp:cNvSpPr/>
      </dsp:nvSpPr>
      <dsp:spPr>
        <a:xfrm>
          <a:off x="2874118" y="100868"/>
          <a:ext cx="2660612" cy="3192735"/>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2809" tIns="0" rIns="262809" bIns="330200" numCol="1" spcCol="1270" anchor="t" anchorCtr="0">
          <a:noAutofit/>
        </a:bodyPr>
        <a:lstStyle/>
        <a:p>
          <a:pPr marL="0" lvl="0" indent="0" algn="l" defTabSz="1155700">
            <a:lnSpc>
              <a:spcPct val="90000"/>
            </a:lnSpc>
            <a:spcBef>
              <a:spcPct val="0"/>
            </a:spcBef>
            <a:spcAft>
              <a:spcPct val="35000"/>
            </a:spcAft>
            <a:buNone/>
          </a:pPr>
          <a:r>
            <a:rPr lang="en-US" sz="2600" kern="1200"/>
            <a:t>Figure out what is real</a:t>
          </a:r>
        </a:p>
      </dsp:txBody>
      <dsp:txXfrm>
        <a:off x="2874118" y="1377962"/>
        <a:ext cx="2660612" cy="1915641"/>
      </dsp:txXfrm>
    </dsp:sp>
    <dsp:sp modelId="{1E9AF2D6-1C6D-4F59-9666-D3363AEB6949}">
      <dsp:nvSpPr>
        <dsp:cNvPr id="0" name=""/>
        <dsp:cNvSpPr/>
      </dsp:nvSpPr>
      <dsp:spPr>
        <a:xfrm>
          <a:off x="2874118" y="100868"/>
          <a:ext cx="2660612" cy="1277094"/>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262809" tIns="165100" rIns="262809" bIns="165100" numCol="1" spcCol="1270" anchor="ctr" anchorCtr="0">
          <a:noAutofit/>
        </a:bodyPr>
        <a:lstStyle/>
        <a:p>
          <a:pPr marL="0" lvl="0" indent="0" algn="l" defTabSz="2933700">
            <a:lnSpc>
              <a:spcPct val="90000"/>
            </a:lnSpc>
            <a:spcBef>
              <a:spcPct val="0"/>
            </a:spcBef>
            <a:spcAft>
              <a:spcPct val="35000"/>
            </a:spcAft>
            <a:buNone/>
          </a:pPr>
          <a:r>
            <a:rPr lang="en-US" sz="6600" kern="1200"/>
            <a:t>02</a:t>
          </a:r>
        </a:p>
      </dsp:txBody>
      <dsp:txXfrm>
        <a:off x="2874118" y="100868"/>
        <a:ext cx="2660612" cy="1277094"/>
      </dsp:txXfrm>
    </dsp:sp>
    <dsp:sp modelId="{35077042-2438-4369-905E-E095DC7F3237}">
      <dsp:nvSpPr>
        <dsp:cNvPr id="0" name=""/>
        <dsp:cNvSpPr/>
      </dsp:nvSpPr>
      <dsp:spPr>
        <a:xfrm>
          <a:off x="5747580" y="100868"/>
          <a:ext cx="2660612" cy="3192735"/>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2809" tIns="0" rIns="262809" bIns="330200" numCol="1" spcCol="1270" anchor="t" anchorCtr="0">
          <a:noAutofit/>
        </a:bodyPr>
        <a:lstStyle/>
        <a:p>
          <a:pPr marL="0" lvl="0" indent="0" algn="l" defTabSz="1155700">
            <a:lnSpc>
              <a:spcPct val="90000"/>
            </a:lnSpc>
            <a:spcBef>
              <a:spcPct val="0"/>
            </a:spcBef>
            <a:spcAft>
              <a:spcPct val="35000"/>
            </a:spcAft>
            <a:buNone/>
          </a:pPr>
          <a:r>
            <a:rPr lang="en-US" sz="2600" kern="1200"/>
            <a:t>Create what is missing</a:t>
          </a:r>
        </a:p>
      </dsp:txBody>
      <dsp:txXfrm>
        <a:off x="5747580" y="1377962"/>
        <a:ext cx="2660612" cy="1915641"/>
      </dsp:txXfrm>
    </dsp:sp>
    <dsp:sp modelId="{88DA1B9F-BEA7-404D-9CE2-16BA0EFD9CF2}">
      <dsp:nvSpPr>
        <dsp:cNvPr id="0" name=""/>
        <dsp:cNvSpPr/>
      </dsp:nvSpPr>
      <dsp:spPr>
        <a:xfrm>
          <a:off x="5747580" y="100868"/>
          <a:ext cx="2660612" cy="1277094"/>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262809" tIns="165100" rIns="262809" bIns="165100" numCol="1" spcCol="1270" anchor="ctr" anchorCtr="0">
          <a:noAutofit/>
        </a:bodyPr>
        <a:lstStyle/>
        <a:p>
          <a:pPr marL="0" lvl="0" indent="0" algn="l" defTabSz="2933700">
            <a:lnSpc>
              <a:spcPct val="90000"/>
            </a:lnSpc>
            <a:spcBef>
              <a:spcPct val="0"/>
            </a:spcBef>
            <a:spcAft>
              <a:spcPct val="35000"/>
            </a:spcAft>
            <a:buNone/>
          </a:pPr>
          <a:r>
            <a:rPr lang="en-US" sz="6600" kern="1200"/>
            <a:t>03</a:t>
          </a:r>
        </a:p>
      </dsp:txBody>
      <dsp:txXfrm>
        <a:off x="5747580" y="100868"/>
        <a:ext cx="2660612" cy="1277094"/>
      </dsp:txXfrm>
    </dsp:sp>
  </dsp:spTree>
</dsp:drawing>
</file>

<file path=ppt/diagrams/layout1.xml><?xml version="1.0" encoding="utf-8"?>
<dgm:layoutDef xmlns:dgm="http://schemas.openxmlformats.org/drawingml/2006/diagram" xmlns:a="http://schemas.openxmlformats.org/drawingml/2006/main" uniqueId="urn:microsoft.com/office/officeart/2016/7/layout/LinearBlockProcessNumbered">
  <dgm:title val="Linear Block Process Numbered"/>
  <dgm:desc val="Used to show a progression; a timeline; sequential steps in a task, process, or workflow; or to emphasize movement or direction. Automatic numbers have been introduced to show the steps of the process. Level 1 text and Level 2 text both appears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01</a:t>
              </a:r>
            </a:p>
          </dgm:t>
        </dgm:pt>
        <dgm:pt modelId="201" type="sibTrans" cxnId="5">
          <dgm:prSet phldrT="2"/>
          <dgm:t>
            <a:bodyPr/>
            <a:lstStyle/>
            <a:p>
              <a:r>
                <a:t>02</a:t>
              </a:r>
            </a:p>
          </dgm:t>
        </dgm:pt>
        <dgm:pt modelId="301" type="sibTrans" cxnId="6">
          <dgm:prSet phldrT="3"/>
          <dgm:t>
            <a:bodyPr/>
            <a:lstStyle/>
            <a:p>
              <a:r>
                <a:t>0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sibTransNodeRect" op="equ"/>
      <dgm:constr type="primFontSz" for="des" forName="nodeRect" op="equ"/>
    </dgm:constrLst>
    <dgm:ruleLst/>
    <dgm:forEach name="Name4" axis="ch" ptType="node">
      <dgm:layoutNode name="compositeNode">
        <dgm:varLst>
          <dgm:bulletEnabled val="1"/>
        </dgm:varLst>
        <dgm:alg type="composite"/>
        <dgm:constrLst>
          <dgm:constr type="h" refType="w" op="lte" fact="1.2"/>
          <dgm:constr type="w" for="ch" forName="bgRect" refType="w"/>
          <dgm:constr type="h" for="ch" forName="bgRect" refType="h"/>
          <dgm:constr type="t" for="ch" forName="bgRect"/>
          <dgm:constr type="l" for="ch" forName="bgRect"/>
          <dgm:constr type="w" for="ch" forName="sibTransNodeRect" refType="w" refFor="ch" refForName="bgRect"/>
          <dgm:constr type="h" for="ch" forName="sibTransNodeRect" refType="h" refFor="ch" refForName="bgRect" fact="0.4"/>
          <dgm:constr type="t" for="ch" forName="sibTransNodeRect"/>
          <dgm:constr type="l" for="ch" forName="sibTransNodeRect"/>
          <dgm:constr type="r" for="ch" forName="nodeRect" refType="r" refFor="ch" refForName="bgRect"/>
          <dgm:constr type="h" for="ch" forName="nodeRect" refType="h" refFor="ch" refForName="bgRect" fact="0.6"/>
          <dgm:constr type="t" for="ch" forName="nodeRect" refType="b" refFor="ch" refForName="sibTransNodeRect"/>
          <dgm:constr type="l" for="ch" forName="nodeRect" refType="l" refFor="ch" refForName="bgRect"/>
        </dgm:constrLst>
        <dgm:ruleLst>
          <dgm:rule type="w" for="ch" forName="nodeRect" val="NaN" fact="NaN" max="30"/>
        </dgm:ruleLst>
        <dgm:layoutNode name="bgRect" styleLbl="alignNode1">
          <dgm:alg type="sp"/>
          <dgm:shape xmlns:r="http://schemas.openxmlformats.org/officeDocument/2006/relationships" type="rect" r:blip="">
            <dgm:adjLst>
              <dgm:adj idx="1" val="0.05"/>
            </dgm:adjLst>
          </dgm:shape>
          <dgm:presOf axis="self"/>
          <dgm:constrLst/>
          <dgm:ruleLst/>
        </dgm:layoutNode>
        <dgm:forEach name="Name19" axis="followSib" ptType="sibTrans" hideLastTrans="0" cnt="1">
          <dgm:layoutNode name="sibTransNodeRect" styleLbl="alignNode1">
            <dgm:varLst>
              <dgm:chMax val="0"/>
              <dgm:bulletEnabled val="1"/>
            </dgm:varLst>
            <dgm:presOf axis="self"/>
            <dgm:alg type="tx">
              <dgm:param type="parTxLTRAlign" val="l"/>
              <dgm:param type="parTxRTLAlign" val="l"/>
            </dgm:alg>
            <dgm:shape xmlns:r="http://schemas.openxmlformats.org/officeDocument/2006/relationships" type="rect" r:blip="" hideGeom="1">
              <dgm:adjLst/>
            </dgm:shape>
            <dgm:constrLst>
              <dgm:constr type="primFontSz" val="66"/>
              <dgm:constr type="tMarg" val="13"/>
              <dgm:constr type="lMarg" refType="w" fact="0.28"/>
              <dgm:constr type="rMarg" refType="w" fact="0.28"/>
              <dgm:constr type="bMarg" val="13"/>
            </dgm:constrLst>
            <dgm:ruleLst>
              <dgm:rule type="primFontSz" val="14" fact="NaN" max="NaN"/>
              <dgm:rule type="tMarg" val="13" fact="NaN" max="NaN"/>
            </dgm:ruleLst>
          </dgm:layoutNode>
        </dgm:forEach>
        <dgm:layoutNode name="nodeRect" styleLbl="alignNode1" moveWith="bgRect">
          <dgm:varLst>
            <dgm:bulletEnabled val="1"/>
          </dgm:varLst>
          <dgm:alg type="tx">
            <dgm:param type="parTxLTRAlign" val="l"/>
            <dgm:param type="parTxRTLAlign" val="r"/>
            <dgm:param type="txAnchorVert" val="t"/>
            <dgm:param type="stBulletLvl" val="2"/>
          </dgm:alg>
          <dgm:shape xmlns:r="http://schemas.openxmlformats.org/officeDocument/2006/relationships" type="rect" r:blip="" hideGeom="1">
            <dgm:adjLst/>
          </dgm:shape>
          <dgm:presOf axis="desOrSelf" ptType="node"/>
          <dgm:constrLst>
            <dgm:constr type="primFontSz" val="26"/>
            <dgm:constr type="tMarg"/>
            <dgm:constr type="lMarg" refType="w" fact="0.28"/>
            <dgm:constr type="rMarg" refType="w" fact="0.28"/>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1">
            <a:buAutoNum type="arabicParenBoth"/>
          </dgm1611:buPr>
        </dgm1611:autoBuNodeInfo>
      </dgm1611:autoBuNodeInfoLst>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BISansOpti"/>
              </a:defRPr>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BISansOpti"/>
              </a:defRPr>
            </a:lvl1pPr>
          </a:lstStyle>
          <a:p>
            <a:fld id="{1704522E-CA49-444F-A3F4-1E49B55AA7A5}" type="datetimeFigureOut">
              <a:rPr lang="de-DE" smtClean="0"/>
              <a:pPr/>
              <a:t>09.09.2022</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BISansOpti"/>
              </a:defRPr>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BISansOpti"/>
              </a:defRPr>
            </a:lvl1pPr>
          </a:lstStyle>
          <a:p>
            <a:fld id="{240BD463-D209-4FAB-A722-B2AFE81AC984}" type="slidenum">
              <a:rPr lang="de-DE" smtClean="0"/>
              <a:pPr/>
              <a:t>‹#›</a:t>
            </a:fld>
            <a:endParaRPr lang="de-DE" dirty="0"/>
          </a:p>
        </p:txBody>
      </p:sp>
    </p:spTree>
    <p:extLst>
      <p:ext uri="{BB962C8B-B14F-4D97-AF65-F5344CB8AC3E}">
        <p14:creationId xmlns:p14="http://schemas.microsoft.com/office/powerpoint/2010/main" val="198540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BISansOpti"/>
        <a:ea typeface="+mn-ea"/>
        <a:cs typeface="+mn-cs"/>
      </a:defRPr>
    </a:lvl1pPr>
    <a:lvl2pPr marL="457200" algn="l" defTabSz="914400" rtl="0" eaLnBrk="1" latinLnBrk="0" hangingPunct="1">
      <a:defRPr sz="1200" kern="1200">
        <a:solidFill>
          <a:schemeClr val="tx1"/>
        </a:solidFill>
        <a:latin typeface="BISansOpti"/>
        <a:ea typeface="+mn-ea"/>
        <a:cs typeface="+mn-cs"/>
      </a:defRPr>
    </a:lvl2pPr>
    <a:lvl3pPr marL="914400" algn="l" defTabSz="914400" rtl="0" eaLnBrk="1" latinLnBrk="0" hangingPunct="1">
      <a:defRPr sz="1200" kern="1200">
        <a:solidFill>
          <a:schemeClr val="tx1"/>
        </a:solidFill>
        <a:latin typeface="BISansOpti"/>
        <a:ea typeface="+mn-ea"/>
        <a:cs typeface="+mn-cs"/>
      </a:defRPr>
    </a:lvl3pPr>
    <a:lvl4pPr marL="1371600" algn="l" defTabSz="914400" rtl="0" eaLnBrk="1" latinLnBrk="0" hangingPunct="1">
      <a:defRPr sz="1200" kern="1200">
        <a:solidFill>
          <a:schemeClr val="tx1"/>
        </a:solidFill>
        <a:latin typeface="BISansOpti"/>
        <a:ea typeface="+mn-ea"/>
        <a:cs typeface="+mn-cs"/>
      </a:defRPr>
    </a:lvl4pPr>
    <a:lvl5pPr marL="1828800" algn="l" defTabSz="914400" rtl="0" eaLnBrk="1" latinLnBrk="0" hangingPunct="1">
      <a:defRPr sz="1200" kern="1200">
        <a:solidFill>
          <a:schemeClr val="tx1"/>
        </a:solidFill>
        <a:latin typeface="BISansOpti"/>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35013" y="563563"/>
            <a:ext cx="5632450" cy="31686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BD463-D209-4FAB-A722-B2AFE81AC984}"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229200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22222"/>
                </a:solidFill>
                <a:effectLst/>
                <a:latin typeface="Harding"/>
              </a:rPr>
              <a:t> the binding mechanism of a transition state analogue (</a:t>
            </a:r>
            <a:r>
              <a:rPr lang="en-US" b="0" i="0" dirty="0" err="1">
                <a:solidFill>
                  <a:srgbClr val="222222"/>
                </a:solidFill>
                <a:effectLst/>
                <a:latin typeface="Harding"/>
              </a:rPr>
              <a:t>DADMe</a:t>
            </a:r>
            <a:r>
              <a:rPr lang="en-US" b="0" i="0" dirty="0">
                <a:solidFill>
                  <a:srgbClr val="222222"/>
                </a:solidFill>
                <a:effectLst/>
                <a:latin typeface="Harding"/>
              </a:rPr>
              <a:t>–</a:t>
            </a:r>
            <a:r>
              <a:rPr lang="en-US" b="0" i="0" dirty="0" err="1">
                <a:solidFill>
                  <a:srgbClr val="222222"/>
                </a:solidFill>
                <a:effectLst/>
                <a:latin typeface="Harding"/>
              </a:rPr>
              <a:t>immucillin</a:t>
            </a:r>
            <a:r>
              <a:rPr lang="en-US" b="0" i="0" dirty="0">
                <a:solidFill>
                  <a:srgbClr val="222222"/>
                </a:solidFill>
                <a:effectLst/>
                <a:latin typeface="Harding"/>
              </a:rPr>
              <a:t>-H) to the purine nucleoside phosphorylase (PNP) enzyme. Microsecond-long MD simulations allow us to observe several binding events, following different dynamical routes and reaching diverse binding configurations. These simulations are used to estimate kinetic and thermodynamic quantities, such as </a:t>
            </a:r>
            <a:r>
              <a:rPr lang="en-US" b="0" i="1" dirty="0" err="1">
                <a:solidFill>
                  <a:srgbClr val="222222"/>
                </a:solidFill>
                <a:effectLst/>
                <a:latin typeface="Harding"/>
              </a:rPr>
              <a:t>k</a:t>
            </a:r>
            <a:r>
              <a:rPr lang="en-US" b="0" i="0" baseline="-25000" dirty="0" err="1">
                <a:solidFill>
                  <a:srgbClr val="222222"/>
                </a:solidFill>
                <a:effectLst/>
                <a:latin typeface="Harding"/>
              </a:rPr>
              <a:t>on</a:t>
            </a:r>
            <a:r>
              <a:rPr lang="en-US" b="0" i="0" dirty="0">
                <a:solidFill>
                  <a:srgbClr val="222222"/>
                </a:solidFill>
                <a:effectLst/>
                <a:latin typeface="Harding"/>
              </a:rPr>
              <a:t> and binding free energy, obtaining a good agreement with available experimental data. In addition, we advance a hypothesis for the slow-onset inhibition mechanism of </a:t>
            </a:r>
            <a:r>
              <a:rPr lang="en-US" b="0" i="0" dirty="0" err="1">
                <a:solidFill>
                  <a:srgbClr val="222222"/>
                </a:solidFill>
                <a:effectLst/>
                <a:latin typeface="Harding"/>
              </a:rPr>
              <a:t>DADMe</a:t>
            </a:r>
            <a:r>
              <a:rPr lang="en-US" b="0" i="0" dirty="0">
                <a:solidFill>
                  <a:srgbClr val="222222"/>
                </a:solidFill>
                <a:effectLst/>
                <a:latin typeface="Harding"/>
              </a:rPr>
              <a:t>–</a:t>
            </a:r>
            <a:r>
              <a:rPr lang="en-US" b="0" i="0" dirty="0" err="1">
                <a:solidFill>
                  <a:srgbClr val="222222"/>
                </a:solidFill>
                <a:effectLst/>
                <a:latin typeface="Harding"/>
              </a:rPr>
              <a:t>immucillin</a:t>
            </a:r>
            <a:r>
              <a:rPr lang="en-US" b="0" i="0" dirty="0">
                <a:solidFill>
                  <a:srgbClr val="222222"/>
                </a:solidFill>
                <a:effectLst/>
                <a:latin typeface="Harding"/>
              </a:rPr>
              <a:t>-H against PNP</a:t>
            </a:r>
            <a:endParaRPr lang="en-US" dirty="0"/>
          </a:p>
        </p:txBody>
      </p:sp>
      <p:sp>
        <p:nvSpPr>
          <p:cNvPr id="4" name="Slide Number Placeholder 3"/>
          <p:cNvSpPr>
            <a:spLocks noGrp="1"/>
          </p:cNvSpPr>
          <p:nvPr>
            <p:ph type="sldNum" sz="quarter" idx="5"/>
          </p:nvPr>
        </p:nvSpPr>
        <p:spPr/>
        <p:txBody>
          <a:bodyPr/>
          <a:lstStyle/>
          <a:p>
            <a:fld id="{240BD463-D209-4FAB-A722-B2AFE81AC984}" type="slidenum">
              <a:rPr lang="de-DE" smtClean="0"/>
              <a:pPr/>
              <a:t>4</a:t>
            </a:fld>
            <a:endParaRPr lang="de-DE" dirty="0"/>
          </a:p>
        </p:txBody>
      </p:sp>
    </p:spTree>
    <p:extLst>
      <p:ext uri="{BB962C8B-B14F-4D97-AF65-F5344CB8AC3E}">
        <p14:creationId xmlns:p14="http://schemas.microsoft.com/office/powerpoint/2010/main" val="3106293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0BD463-D209-4FAB-A722-B2AFE81AC984}" type="slidenum">
              <a:rPr lang="de-DE" smtClean="0"/>
              <a:pPr/>
              <a:t>6</a:t>
            </a:fld>
            <a:endParaRPr lang="de-DE" dirty="0"/>
          </a:p>
        </p:txBody>
      </p:sp>
    </p:spTree>
    <p:extLst>
      <p:ext uri="{BB962C8B-B14F-4D97-AF65-F5344CB8AC3E}">
        <p14:creationId xmlns:p14="http://schemas.microsoft.com/office/powerpoint/2010/main" val="4225400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dirty="0">
                <a:latin typeface="Times-Roman"/>
              </a:rPr>
              <a:t>Time series of the total, potential, and kinetic energies for the dynamics of the H2 molecule (</a:t>
            </a:r>
            <a:r>
              <a:rPr lang="en-US" sz="1800" b="0" i="1" u="none" strike="noStrike" baseline="0" dirty="0">
                <a:latin typeface="Times-Italic"/>
              </a:rPr>
              <a:t>t </a:t>
            </a:r>
            <a:r>
              <a:rPr lang="en-US" sz="1800" b="0" i="0" u="none" strike="noStrike" baseline="0" dirty="0">
                <a:latin typeface="MTSY"/>
              </a:rPr>
              <a:t>= </a:t>
            </a:r>
            <a:r>
              <a:rPr lang="en-US" sz="1800" b="0" i="0" u="none" strike="noStrike" baseline="0" dirty="0">
                <a:latin typeface="Times-Roman"/>
              </a:rPr>
              <a:t>100 fs, </a:t>
            </a:r>
            <a:r>
              <a:rPr lang="en-US" sz="1800" b="0" i="1" u="none" strike="noStrike" baseline="0" dirty="0">
                <a:latin typeface="Times-Italic"/>
              </a:rPr>
              <a:t>dt </a:t>
            </a:r>
            <a:r>
              <a:rPr lang="en-US" sz="1800" b="0" i="0" u="none" strike="noStrike" baseline="0" dirty="0">
                <a:latin typeface="MTSY"/>
              </a:rPr>
              <a:t>= </a:t>
            </a:r>
            <a:r>
              <a:rPr lang="en-US" sz="1800" b="0" i="0" u="none" strike="noStrike" baseline="0" dirty="0">
                <a:latin typeface="Times-Roman"/>
              </a:rPr>
              <a:t>0</a:t>
            </a:r>
            <a:r>
              <a:rPr lang="en-US" sz="1800" b="0" i="1" u="none" strike="noStrike" baseline="0" dirty="0">
                <a:latin typeface="RMTMI"/>
              </a:rPr>
              <a:t>.</a:t>
            </a:r>
            <a:r>
              <a:rPr lang="en-US" sz="1800" b="0" i="0" u="none" strike="noStrike" baseline="0" dirty="0">
                <a:latin typeface="Times-Roman"/>
              </a:rPr>
              <a:t>2 fs) using the</a:t>
            </a:r>
          </a:p>
          <a:p>
            <a:pPr algn="l"/>
            <a:r>
              <a:rPr lang="en-US" sz="1800" b="0" i="0" u="none" strike="noStrike" baseline="0" dirty="0">
                <a:latin typeface="Times-Roman"/>
              </a:rPr>
              <a:t>VQE algorithm with the realistic noise corresponding to the </a:t>
            </a:r>
            <a:r>
              <a:rPr lang="en-US" sz="1800" b="0" i="1" u="none" strike="noStrike" baseline="0" dirty="0" err="1">
                <a:latin typeface="Times-Italic"/>
              </a:rPr>
              <a:t>ibmq_athens</a:t>
            </a:r>
            <a:r>
              <a:rPr lang="en-US" sz="1800" b="0" i="1" u="none" strike="noStrike" baseline="0" dirty="0">
                <a:latin typeface="Times-Italic"/>
              </a:rPr>
              <a:t> </a:t>
            </a:r>
            <a:r>
              <a:rPr lang="en-US" sz="1800" b="0" i="0" u="none" strike="noStrike" baseline="0" dirty="0">
                <a:latin typeface="Times-Roman"/>
              </a:rPr>
              <a:t>device and: (a) 8192 measurements for the evaluation of energies and</a:t>
            </a:r>
          </a:p>
          <a:p>
            <a:pPr algn="l"/>
            <a:r>
              <a:rPr lang="en-US" sz="1800" b="0" i="0" u="none" strike="noStrike" baseline="0" dirty="0">
                <a:latin typeface="Times-Roman"/>
              </a:rPr>
              <a:t>forces, (b) 81 920 measurements for the evaluation of energies and forces, and (c) the VQE-L error mitigation scheme with 8192 measurements</a:t>
            </a:r>
          </a:p>
          <a:p>
            <a:pPr algn="l"/>
            <a:r>
              <a:rPr lang="en-US" sz="1800" b="0" i="0" u="none" strike="noStrike" baseline="0" dirty="0">
                <a:latin typeface="Times-Roman"/>
              </a:rPr>
              <a:t>for the evaluation of energies and forces. (d), (e), and (f) The same simulations as in (a), (b), and (c) with halved hardware noise level. In all</a:t>
            </a:r>
          </a:p>
          <a:p>
            <a:pPr algn="l"/>
            <a:r>
              <a:rPr lang="en-US" sz="1800" b="0" i="0" u="none" strike="noStrike" baseline="0" dirty="0">
                <a:latin typeface="Times-Roman"/>
              </a:rPr>
              <a:t>panels, the blue curves correspond to the reference “exact” dynamics obtained in the MR.</a:t>
            </a:r>
            <a:endParaRPr lang="en-US" dirty="0"/>
          </a:p>
        </p:txBody>
      </p:sp>
      <p:sp>
        <p:nvSpPr>
          <p:cNvPr id="4" name="Slide Number Placeholder 3"/>
          <p:cNvSpPr>
            <a:spLocks noGrp="1"/>
          </p:cNvSpPr>
          <p:nvPr>
            <p:ph type="sldNum" sz="quarter" idx="5"/>
          </p:nvPr>
        </p:nvSpPr>
        <p:spPr/>
        <p:txBody>
          <a:bodyPr/>
          <a:lstStyle/>
          <a:p>
            <a:fld id="{240BD463-D209-4FAB-A722-B2AFE81AC984}" type="slidenum">
              <a:rPr lang="de-DE" smtClean="0"/>
              <a:pPr/>
              <a:t>17</a:t>
            </a:fld>
            <a:endParaRPr lang="de-DE" dirty="0"/>
          </a:p>
        </p:txBody>
      </p:sp>
    </p:spTree>
    <p:extLst>
      <p:ext uri="{BB962C8B-B14F-4D97-AF65-F5344CB8AC3E}">
        <p14:creationId xmlns:p14="http://schemas.microsoft.com/office/powerpoint/2010/main" val="2161745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G. 6. Time series of the total, potential, and kinetic energies</a:t>
            </a:r>
          </a:p>
          <a:p>
            <a:r>
              <a:rPr lang="en-US" dirty="0"/>
              <a:t>for the dynamics of the H2 molecule on the IBM quantum computer</a:t>
            </a:r>
          </a:p>
          <a:p>
            <a:r>
              <a:rPr lang="en-US" dirty="0" err="1"/>
              <a:t>ibmq_athens</a:t>
            </a:r>
            <a:r>
              <a:rPr lang="en-US" dirty="0"/>
              <a:t>. Calculations were done using the bare VQE algorithm</a:t>
            </a:r>
          </a:p>
          <a:p>
            <a:r>
              <a:rPr lang="en-US" dirty="0"/>
              <a:t>(without </a:t>
            </a:r>
            <a:r>
              <a:rPr lang="en-US" dirty="0" err="1"/>
              <a:t>Lanczos</a:t>
            </a:r>
            <a:r>
              <a:rPr lang="en-US" dirty="0"/>
              <a:t> noise mitigation) with 8192 measurements</a:t>
            </a:r>
          </a:p>
          <a:p>
            <a:r>
              <a:rPr lang="en-US" dirty="0"/>
              <a:t>per expectation value. The equation of motion was solved with the</a:t>
            </a:r>
          </a:p>
          <a:p>
            <a:r>
              <a:rPr lang="en-US" dirty="0"/>
              <a:t>velocity-free </a:t>
            </a:r>
            <a:r>
              <a:rPr lang="en-US" dirty="0" err="1"/>
              <a:t>Verlet</a:t>
            </a:r>
            <a:r>
              <a:rPr lang="en-US" dirty="0"/>
              <a:t> algorithm and a time step of 0.2 fs.</a:t>
            </a:r>
          </a:p>
        </p:txBody>
      </p:sp>
      <p:sp>
        <p:nvSpPr>
          <p:cNvPr id="4" name="Slide Number Placeholder 3"/>
          <p:cNvSpPr>
            <a:spLocks noGrp="1"/>
          </p:cNvSpPr>
          <p:nvPr>
            <p:ph type="sldNum" sz="quarter" idx="5"/>
          </p:nvPr>
        </p:nvSpPr>
        <p:spPr/>
        <p:txBody>
          <a:bodyPr/>
          <a:lstStyle/>
          <a:p>
            <a:fld id="{240BD463-D209-4FAB-A722-B2AFE81AC984}" type="slidenum">
              <a:rPr lang="de-DE" smtClean="0"/>
              <a:pPr/>
              <a:t>18</a:t>
            </a:fld>
            <a:endParaRPr lang="de-DE" dirty="0"/>
          </a:p>
        </p:txBody>
      </p:sp>
    </p:spTree>
    <p:extLst>
      <p:ext uri="{BB962C8B-B14F-4D97-AF65-F5344CB8AC3E}">
        <p14:creationId xmlns:p14="http://schemas.microsoft.com/office/powerpoint/2010/main" val="19929781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6231" t="19013" b="13976"/>
          <a:stretch/>
        </p:blipFill>
        <p:spPr bwMode="auto">
          <a:xfrm>
            <a:off x="0" y="0"/>
            <a:ext cx="642979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0"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5" y="1991163"/>
            <a:ext cx="5884369" cy="738664"/>
          </a:xfrm>
        </p:spPr>
        <p:txBody>
          <a:bodyPr wrap="square" lIns="0">
            <a:spAutoFit/>
          </a:bodyPr>
          <a:lstStyle>
            <a:lvl1pPr>
              <a:defRPr sz="4800" baseline="0">
                <a:solidFill>
                  <a:srgbClr val="003366"/>
                </a:solidFill>
              </a:defRPr>
            </a:lvl1pPr>
          </a:lstStyle>
          <a:p>
            <a:r>
              <a:rPr lang="en-GB" noProof="0"/>
              <a:t>Click to add title</a:t>
            </a:r>
          </a:p>
        </p:txBody>
      </p:sp>
      <p:sp>
        <p:nvSpPr>
          <p:cNvPr id="3" name="Untertitel 2"/>
          <p:cNvSpPr>
            <a:spLocks noGrp="1"/>
          </p:cNvSpPr>
          <p:nvPr>
            <p:ph type="subTitle" idx="1" hasCustomPrompt="1"/>
          </p:nvPr>
        </p:nvSpPr>
        <p:spPr>
          <a:xfrm>
            <a:off x="367574" y="3572753"/>
            <a:ext cx="5884369" cy="369332"/>
          </a:xfrm>
        </p:spPr>
        <p:txBody>
          <a:bodyPr wrap="square">
            <a:spAutoFit/>
          </a:bodyPr>
          <a:lstStyle>
            <a:lvl1pPr marL="0" indent="0" algn="l">
              <a:buNone/>
              <a:defRPr sz="2400" b="0" i="0" baseline="0">
                <a:solidFill>
                  <a:srgbClr val="003366"/>
                </a:solidFill>
                <a:latin typeface="BISansOptiCond"/>
                <a:cs typeface="BISansOptiCond"/>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add subtitle</a:t>
            </a:r>
          </a:p>
        </p:txBody>
      </p:sp>
      <p:cxnSp>
        <p:nvCxnSpPr>
          <p:cNvPr id="10" name="Gerade Verbindung 9"/>
          <p:cNvCxnSpPr/>
          <p:nvPr userDrawn="1"/>
        </p:nvCxnSpPr>
        <p:spPr>
          <a:xfrm>
            <a:off x="0"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9" name="Grafik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19694" y="4416838"/>
            <a:ext cx="1259701" cy="381600"/>
          </a:xfrm>
          <a:prstGeom prst="rect">
            <a:avLst/>
          </a:prstGeom>
        </p:spPr>
      </p:pic>
    </p:spTree>
    <p:extLst>
      <p:ext uri="{BB962C8B-B14F-4D97-AF65-F5344CB8AC3E}">
        <p14:creationId xmlns:p14="http://schemas.microsoft.com/office/powerpoint/2010/main" val="988461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sp>
        <p:nvSpPr>
          <p:cNvPr id="15" name="Rechteck 14"/>
          <p:cNvSpPr/>
          <p:nvPr userDrawn="1"/>
        </p:nvSpPr>
        <p:spPr>
          <a:xfrm>
            <a:off x="0" y="103559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sp>
        <p:nvSpPr>
          <p:cNvPr id="3" name="Inhaltsplatzhalter 2"/>
          <p:cNvSpPr>
            <a:spLocks noGrp="1"/>
          </p:cNvSpPr>
          <p:nvPr>
            <p:ph idx="1" hasCustomPrompt="1"/>
          </p:nvPr>
        </p:nvSpPr>
        <p:spPr>
          <a:xfrm>
            <a:off x="367575" y="1200151"/>
            <a:ext cx="2934425" cy="2782569"/>
          </a:xfrm>
        </p:spPr>
        <p:txBody>
          <a:bodyPr/>
          <a:lstStyle/>
          <a:p>
            <a:pPr lvl="0"/>
            <a:r>
              <a:rPr lang="en-GB" noProof="0" dirty="0"/>
              <a:t>Click to add text</a:t>
            </a: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19D781AB-E714-4F09-8D28-226A45E82554}" type="datetime1">
              <a:rPr lang="en-GB" smtClean="0"/>
              <a:t>09/09/2022</a:t>
            </a:fld>
            <a:endParaRPr lang="en-GB" dirty="0"/>
          </a:p>
        </p:txBody>
      </p:sp>
      <p:sp>
        <p:nvSpPr>
          <p:cNvPr id="6" name="Fußzeilenplatzhalter 5"/>
          <p:cNvSpPr>
            <a:spLocks noGrp="1"/>
          </p:cNvSpPr>
          <p:nvPr>
            <p:ph type="ftr" sz="quarter" idx="11"/>
          </p:nvPr>
        </p:nvSpPr>
        <p:spPr/>
        <p:txBody>
          <a:bodyPr/>
          <a:lstStyle/>
          <a:p>
            <a:r>
              <a:rPr lang="en-GB"/>
              <a:t>Presentation title, date, author</a:t>
            </a:r>
            <a:endParaRPr lang="en-GB" dirty="0"/>
          </a:p>
        </p:txBody>
      </p:sp>
      <p:sp>
        <p:nvSpPr>
          <p:cNvPr id="7" name="Foliennummernplatzhalter 6"/>
          <p:cNvSpPr>
            <a:spLocks noGrp="1"/>
          </p:cNvSpPr>
          <p:nvPr>
            <p:ph type="sldNum" sz="quarter" idx="12"/>
          </p:nvPr>
        </p:nvSpPr>
        <p:spPr/>
        <p:txBody>
          <a:bodyPr/>
          <a:lstStyle/>
          <a:p>
            <a:fld id="{143B55C4-4F5A-416B-997D-6CE47EB0A945}" type="slidenum">
              <a:rPr lang="en-GB" smtClean="0"/>
              <a:pPr/>
              <a:t>‹#›</a:t>
            </a:fld>
            <a:endParaRPr lang="en-GB" dirty="0"/>
          </a:p>
        </p:txBody>
      </p:sp>
      <p:sp>
        <p:nvSpPr>
          <p:cNvPr id="12" name="Titel 7"/>
          <p:cNvSpPr>
            <a:spLocks noGrp="1"/>
          </p:cNvSpPr>
          <p:nvPr>
            <p:ph type="title" hasCustomPrompt="1"/>
          </p:nvPr>
        </p:nvSpPr>
        <p:spPr>
          <a:xfrm>
            <a:off x="367575" y="290572"/>
            <a:ext cx="8408850" cy="369332"/>
          </a:xfrm>
        </p:spPr>
        <p:txBody>
          <a:bodyPr/>
          <a:lstStyle/>
          <a:p>
            <a:r>
              <a:rPr lang="en-GB" noProof="0" dirty="0"/>
              <a:t>Click to add headline</a:t>
            </a:r>
          </a:p>
        </p:txBody>
      </p:sp>
      <p:pic>
        <p:nvPicPr>
          <p:cNvPr id="16"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327565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lvl1pPr marL="0" indent="0" algn="ctr">
              <a:buNone/>
              <a:defRPr lang="en-US" sz="2000" b="0" i="0" dirty="0" smtClean="0">
                <a:solidFill>
                  <a:schemeClr val="bg1"/>
                </a:solidFill>
                <a:latin typeface="BISansOptiCond"/>
                <a:cs typeface="BISansOptiCond"/>
              </a:defRPr>
            </a:lvl1pPr>
          </a:lstStyle>
          <a:p>
            <a:pPr marL="0" lvl="0" algn="ctr"/>
            <a:r>
              <a:rPr lang="en-GB" noProof="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2"/>
          </p:nvPr>
        </p:nvSpPr>
        <p:spPr/>
        <p:txBody>
          <a:bodyPr/>
          <a:lstStyle/>
          <a:p>
            <a:fld id="{EC17428A-2D47-45E0-A069-3589CCCD6CCB}" type="datetime1">
              <a:rPr lang="en-GB" smtClean="0"/>
              <a:t>09/09/2022</a:t>
            </a:fld>
            <a:endParaRPr lang="en-GB" dirty="0"/>
          </a:p>
        </p:txBody>
      </p:sp>
      <p:sp>
        <p:nvSpPr>
          <p:cNvPr id="5" name="Fußzeilenplatzhalter 4"/>
          <p:cNvSpPr>
            <a:spLocks noGrp="1"/>
          </p:cNvSpPr>
          <p:nvPr>
            <p:ph type="ftr" sz="quarter" idx="13"/>
          </p:nvPr>
        </p:nvSpPr>
        <p:spPr/>
        <p:txBody>
          <a:bodyPr/>
          <a:lstStyle/>
          <a:p>
            <a:r>
              <a:rPr lang="en-GB"/>
              <a:t>Presentation title, date, author</a:t>
            </a:r>
            <a:endParaRPr lang="en-GB" dirty="0"/>
          </a:p>
        </p:txBody>
      </p:sp>
      <p:sp>
        <p:nvSpPr>
          <p:cNvPr id="7" name="Foliennummernplatzhalter 6"/>
          <p:cNvSpPr>
            <a:spLocks noGrp="1"/>
          </p:cNvSpPr>
          <p:nvPr>
            <p:ph type="sldNum" sz="quarter" idx="14"/>
          </p:nvPr>
        </p:nvSpPr>
        <p:spPr/>
        <p:txBody>
          <a:bodyPr/>
          <a:lstStyle/>
          <a:p>
            <a:fld id="{143B55C4-4F5A-416B-997D-6CE47EB0A945}" type="slidenum">
              <a:rPr lang="en-GB" smtClean="0"/>
              <a:pPr/>
              <a:t>‹#›</a:t>
            </a:fld>
            <a:endParaRPr lang="en-GB" dirty="0"/>
          </a:p>
        </p:txBody>
      </p:sp>
      <p:sp>
        <p:nvSpPr>
          <p:cNvPr id="8" name="Titel 7"/>
          <p:cNvSpPr>
            <a:spLocks noGrp="1"/>
          </p:cNvSpPr>
          <p:nvPr>
            <p:ph type="title" hasCustomPrompt="1"/>
          </p:nvPr>
        </p:nvSpPr>
        <p:spPr>
          <a:xfrm>
            <a:off x="1771575" y="659904"/>
            <a:ext cx="5065660" cy="369332"/>
          </a:xfrm>
        </p:spPr>
        <p:txBody>
          <a:bodyPr/>
          <a:lstStyle/>
          <a:p>
            <a:r>
              <a:rPr lang="en-GB" noProof="0"/>
              <a:t>Click to add headline</a:t>
            </a:r>
          </a:p>
        </p:txBody>
      </p:sp>
      <p:pic>
        <p:nvPicPr>
          <p:cNvPr id="16"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13" name="Inhaltsplatzhalter 6"/>
          <p:cNvSpPr>
            <a:spLocks noGrp="1"/>
          </p:cNvSpPr>
          <p:nvPr>
            <p:ph sz="quarter" idx="15" hasCustomPrompt="1"/>
          </p:nvPr>
        </p:nvSpPr>
        <p:spPr>
          <a:xfrm>
            <a:off x="1771200" y="1504800"/>
            <a:ext cx="5616000" cy="2955600"/>
          </a:xfrm>
        </p:spPr>
        <p:txBody>
          <a:bodyPr/>
          <a:lstStyle>
            <a:lvl1pPr marL="0" indent="0">
              <a:spcBef>
                <a:spcPts val="600"/>
              </a:spcBef>
              <a:buNone/>
              <a:defRPr>
                <a:latin typeface="+mn-lt"/>
              </a:defRPr>
            </a:lvl1pPr>
            <a:lvl2pPr marL="266700" indent="0">
              <a:buNone/>
              <a:defRPr>
                <a:latin typeface="+mn-lt"/>
              </a:defRPr>
            </a:lvl2pPr>
            <a:lvl3pPr marL="450850" indent="0">
              <a:buNone/>
              <a:defRPr>
                <a:latin typeface="+mn-lt"/>
              </a:defRPr>
            </a:lvl3pPr>
            <a:lvl4pPr marL="628650" indent="0">
              <a:buNone/>
              <a:defRPr>
                <a:latin typeface="+mn-lt"/>
              </a:defRPr>
            </a:lvl4pPr>
            <a:lvl5pPr marL="806450" indent="0">
              <a:buNone/>
              <a:defRPr>
                <a:latin typeface="+mn-lt"/>
              </a:defRPr>
            </a:lvl5pPr>
          </a:lstStyle>
          <a:p>
            <a:pPr lvl="0"/>
            <a:r>
              <a:rPr lang="en-GB" noProof="0" dirty="0"/>
              <a:t>Click to add text</a:t>
            </a:r>
          </a:p>
        </p:txBody>
      </p:sp>
    </p:spTree>
    <p:extLst>
      <p:ext uri="{BB962C8B-B14F-4D97-AF65-F5344CB8AC3E}">
        <p14:creationId xmlns:p14="http://schemas.microsoft.com/office/powerpoint/2010/main" val="3693783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sp>
        <p:nvSpPr>
          <p:cNvPr id="3" name="Datumsplatzhalter 2"/>
          <p:cNvSpPr>
            <a:spLocks noGrp="1"/>
          </p:cNvSpPr>
          <p:nvPr>
            <p:ph type="dt" sz="half" idx="10"/>
          </p:nvPr>
        </p:nvSpPr>
        <p:spPr/>
        <p:txBody>
          <a:bodyPr/>
          <a:lstStyle/>
          <a:p>
            <a:fld id="{1EC6BB9B-C051-45A6-8B80-D4145CF47D8A}" type="datetime1">
              <a:rPr lang="en-GB" smtClean="0"/>
              <a:t>09/09/2022</a:t>
            </a:fld>
            <a:endParaRPr lang="en-GB" dirty="0"/>
          </a:p>
        </p:txBody>
      </p:sp>
      <p:sp>
        <p:nvSpPr>
          <p:cNvPr id="4" name="Fußzeilenplatzhalter 3"/>
          <p:cNvSpPr>
            <a:spLocks noGrp="1"/>
          </p:cNvSpPr>
          <p:nvPr>
            <p:ph type="ftr" sz="quarter" idx="11"/>
          </p:nvPr>
        </p:nvSpPr>
        <p:spPr/>
        <p:txBody>
          <a:bodyPr/>
          <a:lstStyle/>
          <a:p>
            <a:r>
              <a:rPr lang="en-GB"/>
              <a:t>Presentation title, date, author</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pic>
        <p:nvPicPr>
          <p:cNvPr id="9"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1106805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tand-alone">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74E185D7-72A7-4578-96CD-5EF608923CBF}" type="datetime1">
              <a:rPr lang="en-GB" noProof="0" smtClean="0"/>
              <a:t>09/09/2022</a:t>
            </a:fld>
            <a:endParaRPr lang="en-GB" noProof="0" dirty="0"/>
          </a:p>
        </p:txBody>
      </p:sp>
      <p:sp>
        <p:nvSpPr>
          <p:cNvPr id="5" name="Fußzeilenplatzhalter 4"/>
          <p:cNvSpPr>
            <a:spLocks noGrp="1"/>
          </p:cNvSpPr>
          <p:nvPr>
            <p:ph type="ftr" sz="quarter" idx="11"/>
          </p:nvPr>
        </p:nvSpPr>
        <p:spPr/>
        <p:txBody>
          <a:bodyPr/>
          <a:lstStyle/>
          <a:p>
            <a:r>
              <a:rPr lang="en-GB" noProof="0"/>
              <a:t>Presentation title, date, author</a:t>
            </a:r>
            <a:endParaRPr lang="en-GB" noProof="0" dirty="0"/>
          </a:p>
        </p:txBody>
      </p:sp>
      <p:sp>
        <p:nvSpPr>
          <p:cNvPr id="6" name="Foliennummernplatzhalter 5"/>
          <p:cNvSpPr>
            <a:spLocks noGrp="1"/>
          </p:cNvSpPr>
          <p:nvPr>
            <p:ph type="sldNum" sz="quarter" idx="12"/>
          </p:nvPr>
        </p:nvSpPr>
        <p:spPr/>
        <p:txBody>
          <a:bodyPr/>
          <a:lstStyle/>
          <a:p>
            <a:fld id="{143B55C4-4F5A-416B-997D-6CE47EB0A945}" type="slidenum">
              <a:rPr lang="en-GB" noProof="0" smtClean="0"/>
              <a:t>‹#›</a:t>
            </a:fld>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1195600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 36pt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p>
            <a:pPr lvl="0"/>
            <a:r>
              <a:rPr lang="en-GB" noProof="0" dirty="0"/>
              <a:t>Click to add text</a:t>
            </a:r>
          </a:p>
        </p:txBody>
      </p:sp>
      <p:sp>
        <p:nvSpPr>
          <p:cNvPr id="4" name="Datumsplatzhalter 3"/>
          <p:cNvSpPr>
            <a:spLocks noGrp="1"/>
          </p:cNvSpPr>
          <p:nvPr>
            <p:ph type="dt" sz="half" idx="10"/>
          </p:nvPr>
        </p:nvSpPr>
        <p:spPr/>
        <p:txBody>
          <a:bodyPr/>
          <a:lstStyle/>
          <a:p>
            <a:fld id="{B97B442D-D596-4A22-B59F-2B4C559DB2B8}" type="datetime1">
              <a:rPr lang="en-GB" noProof="0" smtClean="0"/>
              <a:t>09/09/2022</a:t>
            </a:fld>
            <a:endParaRPr lang="en-GB" noProof="0" dirty="0"/>
          </a:p>
        </p:txBody>
      </p:sp>
      <p:sp>
        <p:nvSpPr>
          <p:cNvPr id="5" name="Fußzeilenplatzhalter 4"/>
          <p:cNvSpPr>
            <a:spLocks noGrp="1"/>
          </p:cNvSpPr>
          <p:nvPr>
            <p:ph type="ftr" sz="quarter" idx="11"/>
          </p:nvPr>
        </p:nvSpPr>
        <p:spPr/>
        <p:txBody>
          <a:bodyPr/>
          <a:lstStyle/>
          <a:p>
            <a:r>
              <a:rPr lang="en-GB" noProof="0"/>
              <a:t>Presentation title, date, author</a:t>
            </a:r>
            <a:endParaRPr lang="en-GB" noProof="0" dirty="0"/>
          </a:p>
        </p:txBody>
      </p:sp>
      <p:sp>
        <p:nvSpPr>
          <p:cNvPr id="6" name="Foliennummernplatzhalter 5"/>
          <p:cNvSpPr>
            <a:spLocks noGrp="1"/>
          </p:cNvSpPr>
          <p:nvPr>
            <p:ph type="sldNum" sz="quarter" idx="12"/>
          </p:nvPr>
        </p:nvSpPr>
        <p:spPr/>
        <p:txBody>
          <a:bodyPr/>
          <a:lstStyle/>
          <a:p>
            <a:fld id="{143B55C4-4F5A-416B-997D-6CE47EB0A945}" type="slidenum">
              <a:rPr lang="en-GB" noProof="0" smtClean="0"/>
              <a:t>‹#›</a:t>
            </a:fld>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8" name="Titel 7"/>
          <p:cNvSpPr>
            <a:spLocks noGrp="1"/>
          </p:cNvSpPr>
          <p:nvPr>
            <p:ph type="title" hasCustomPrompt="1"/>
          </p:nvPr>
        </p:nvSpPr>
        <p:spPr>
          <a:xfrm>
            <a:off x="367575" y="140400"/>
            <a:ext cx="8408850" cy="553998"/>
          </a:xfrm>
        </p:spPr>
        <p:txBody>
          <a:bodyPr/>
          <a:lstStyle>
            <a:lvl1pPr>
              <a:defRPr sz="3600"/>
            </a:lvl1pPr>
          </a:lstStyle>
          <a:p>
            <a:r>
              <a:rPr lang="en-GB" noProof="0"/>
              <a:t>Click to add headline</a:t>
            </a:r>
          </a:p>
        </p:txBody>
      </p:sp>
      <p:pic>
        <p:nvPicPr>
          <p:cNvPr id="9"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1459951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el 24pt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p>
            <a:pPr lvl="0"/>
            <a:r>
              <a:rPr lang="en-GB" noProof="0" dirty="0"/>
              <a:t>Click to add text</a:t>
            </a:r>
          </a:p>
        </p:txBody>
      </p:sp>
      <p:sp>
        <p:nvSpPr>
          <p:cNvPr id="4" name="Datumsplatzhalter 3"/>
          <p:cNvSpPr>
            <a:spLocks noGrp="1"/>
          </p:cNvSpPr>
          <p:nvPr>
            <p:ph type="dt" sz="half" idx="10"/>
          </p:nvPr>
        </p:nvSpPr>
        <p:spPr/>
        <p:txBody>
          <a:bodyPr/>
          <a:lstStyle/>
          <a:p>
            <a:fld id="{98F3AA7F-89C7-4646-B972-BDD77134FD4C}" type="datetime1">
              <a:rPr lang="en-GB" noProof="0" smtClean="0"/>
              <a:t>09/09/2022</a:t>
            </a:fld>
            <a:endParaRPr lang="en-GB" noProof="0" dirty="0"/>
          </a:p>
        </p:txBody>
      </p:sp>
      <p:sp>
        <p:nvSpPr>
          <p:cNvPr id="5" name="Fußzeilenplatzhalter 4"/>
          <p:cNvSpPr>
            <a:spLocks noGrp="1"/>
          </p:cNvSpPr>
          <p:nvPr>
            <p:ph type="ftr" sz="quarter" idx="11"/>
          </p:nvPr>
        </p:nvSpPr>
        <p:spPr/>
        <p:txBody>
          <a:bodyPr/>
          <a:lstStyle/>
          <a:p>
            <a:r>
              <a:rPr lang="en-GB" noProof="0"/>
              <a:t>Presentation title, date, author</a:t>
            </a:r>
            <a:endParaRPr lang="en-GB" noProof="0" dirty="0"/>
          </a:p>
        </p:txBody>
      </p:sp>
      <p:sp>
        <p:nvSpPr>
          <p:cNvPr id="6" name="Foliennummernplatzhalter 5"/>
          <p:cNvSpPr>
            <a:spLocks noGrp="1"/>
          </p:cNvSpPr>
          <p:nvPr>
            <p:ph type="sldNum" sz="quarter" idx="12"/>
          </p:nvPr>
        </p:nvSpPr>
        <p:spPr/>
        <p:txBody>
          <a:bodyPr/>
          <a:lstStyle/>
          <a:p>
            <a:fld id="{143B55C4-4F5A-416B-997D-6CE47EB0A945}" type="slidenum">
              <a:rPr lang="en-GB" noProof="0" smtClean="0"/>
              <a:t>‹#›</a:t>
            </a:fld>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8" name="Titel 7"/>
          <p:cNvSpPr>
            <a:spLocks noGrp="1"/>
          </p:cNvSpPr>
          <p:nvPr>
            <p:ph type="title" hasCustomPrompt="1"/>
          </p:nvPr>
        </p:nvSpPr>
        <p:spPr>
          <a:xfrm>
            <a:off x="367575" y="290572"/>
            <a:ext cx="8408850" cy="369332"/>
          </a:xfrm>
        </p:spPr>
        <p:txBody>
          <a:bodyPr/>
          <a:lstStyle/>
          <a:p>
            <a:r>
              <a:rPr lang="en-GB" noProof="0" dirty="0"/>
              <a:t>Click to add headline</a:t>
            </a:r>
          </a:p>
        </p:txBody>
      </p:sp>
      <p:pic>
        <p:nvPicPr>
          <p:cNvPr id="9"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92033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4" name="Datumsplatzhalter 3"/>
          <p:cNvSpPr>
            <a:spLocks noGrp="1"/>
          </p:cNvSpPr>
          <p:nvPr>
            <p:ph type="dt" sz="half" idx="12"/>
          </p:nvPr>
        </p:nvSpPr>
        <p:spPr/>
        <p:txBody>
          <a:bodyPr/>
          <a:lstStyle/>
          <a:p>
            <a:fld id="{9C15FEBD-85B6-4A0B-9BA4-99E119B10886}" type="datetime1">
              <a:rPr lang="en-GB" noProof="0" smtClean="0"/>
              <a:t>09/09/2022</a:t>
            </a:fld>
            <a:endParaRPr lang="en-GB" noProof="0" dirty="0"/>
          </a:p>
        </p:txBody>
      </p:sp>
      <p:sp>
        <p:nvSpPr>
          <p:cNvPr id="6" name="Fußzeilenplatzhalter 5"/>
          <p:cNvSpPr>
            <a:spLocks noGrp="1"/>
          </p:cNvSpPr>
          <p:nvPr>
            <p:ph type="ftr" sz="quarter" idx="13"/>
          </p:nvPr>
        </p:nvSpPr>
        <p:spPr/>
        <p:txBody>
          <a:bodyPr/>
          <a:lstStyle/>
          <a:p>
            <a:r>
              <a:rPr lang="en-GB" noProof="0"/>
              <a:t>Presentation title, date, author</a:t>
            </a:r>
            <a:endParaRPr lang="en-GB" noProof="0" dirty="0"/>
          </a:p>
        </p:txBody>
      </p:sp>
      <p:sp>
        <p:nvSpPr>
          <p:cNvPr id="7" name="Foliennummernplatzhalter 6"/>
          <p:cNvSpPr>
            <a:spLocks noGrp="1"/>
          </p:cNvSpPr>
          <p:nvPr>
            <p:ph type="sldNum" sz="quarter" idx="14"/>
          </p:nvPr>
        </p:nvSpPr>
        <p:spPr/>
        <p:txBody>
          <a:bodyPr/>
          <a:lstStyle/>
          <a:p>
            <a:fld id="{143B55C4-4F5A-416B-997D-6CE47EB0A945}" type="slidenum">
              <a:rPr lang="en-GB" noProof="0" smtClean="0"/>
              <a:pPr/>
              <a:t>‹#›</a:t>
            </a:fld>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9" name="Titel 7"/>
          <p:cNvSpPr>
            <a:spLocks noGrp="1"/>
          </p:cNvSpPr>
          <p:nvPr>
            <p:ph type="title" hasCustomPrompt="1"/>
          </p:nvPr>
        </p:nvSpPr>
        <p:spPr>
          <a:xfrm>
            <a:off x="367575" y="290572"/>
            <a:ext cx="8408850" cy="369332"/>
          </a:xfrm>
        </p:spPr>
        <p:txBody>
          <a:bodyPr/>
          <a:lstStyle/>
          <a:p>
            <a:r>
              <a:rPr lang="en-GB" noProof="0" dirty="0"/>
              <a:t>Click to add headline</a:t>
            </a:r>
          </a:p>
        </p:txBody>
      </p:sp>
      <p:pic>
        <p:nvPicPr>
          <p:cNvPr id="10"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11" name="Inhaltsplatzhalter 6"/>
          <p:cNvSpPr>
            <a:spLocks noGrp="1"/>
          </p:cNvSpPr>
          <p:nvPr>
            <p:ph sz="quarter" idx="15" hasCustomPrompt="1"/>
          </p:nvPr>
        </p:nvSpPr>
        <p:spPr>
          <a:xfrm>
            <a:off x="1771200" y="1198800"/>
            <a:ext cx="5616000" cy="3394800"/>
          </a:xfrm>
        </p:spPr>
        <p:txBody>
          <a:bodyPr/>
          <a:lstStyle>
            <a:lvl1pPr marL="0" indent="0">
              <a:spcBef>
                <a:spcPts val="600"/>
              </a:spcBef>
              <a:buNone/>
              <a:defRPr>
                <a:latin typeface="+mn-lt"/>
              </a:defRPr>
            </a:lvl1pPr>
            <a:lvl2pPr marL="266700" indent="0">
              <a:buNone/>
              <a:defRPr>
                <a:latin typeface="+mn-lt"/>
              </a:defRPr>
            </a:lvl2pPr>
            <a:lvl3pPr marL="450850" indent="0">
              <a:buNone/>
              <a:defRPr>
                <a:latin typeface="+mn-lt"/>
              </a:defRPr>
            </a:lvl3pPr>
            <a:lvl4pPr marL="628650" indent="0">
              <a:buNone/>
              <a:defRPr>
                <a:latin typeface="+mn-lt"/>
              </a:defRPr>
            </a:lvl4pPr>
            <a:lvl5pPr marL="806450" indent="0">
              <a:buNone/>
              <a:defRPr>
                <a:latin typeface="+mn-lt"/>
              </a:defRPr>
            </a:lvl5pPr>
          </a:lstStyle>
          <a:p>
            <a:pPr lvl="0"/>
            <a:r>
              <a:rPr lang="en-GB" noProof="0" dirty="0"/>
              <a:t>Click to add text</a:t>
            </a:r>
          </a:p>
        </p:txBody>
      </p:sp>
    </p:spTree>
    <p:extLst>
      <p:ext uri="{BB962C8B-B14F-4D97-AF65-F5344CB8AC3E}">
        <p14:creationId xmlns:p14="http://schemas.microsoft.com/office/powerpoint/2010/main" val="38215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67575" y="1200151"/>
            <a:ext cx="2934425" cy="2782569"/>
          </a:xfrm>
        </p:spPr>
        <p:txBody>
          <a:bodyPr/>
          <a:lstStyle>
            <a:lvl1pPr>
              <a:defRPr baseline="0"/>
            </a:lvl1pPr>
          </a:lstStyle>
          <a:p>
            <a:pPr lvl="0"/>
            <a:r>
              <a:rPr lang="en-GB" noProof="0" dirty="0"/>
              <a:t>Click to add text</a:t>
            </a:r>
          </a:p>
        </p:txBody>
      </p:sp>
      <p:sp>
        <p:nvSpPr>
          <p:cNvPr id="4" name="Datumsplatzhalter 3"/>
          <p:cNvSpPr>
            <a:spLocks noGrp="1"/>
          </p:cNvSpPr>
          <p:nvPr>
            <p:ph type="dt" sz="half" idx="12"/>
          </p:nvPr>
        </p:nvSpPr>
        <p:spPr/>
        <p:txBody>
          <a:bodyPr/>
          <a:lstStyle/>
          <a:p>
            <a:fld id="{C7B72EF1-134D-476C-B146-ED8DB9215F2F}" type="datetime1">
              <a:rPr lang="en-GB" noProof="0" smtClean="0"/>
              <a:t>09/09/2022</a:t>
            </a:fld>
            <a:endParaRPr lang="en-GB" noProof="0" dirty="0"/>
          </a:p>
        </p:txBody>
      </p:sp>
      <p:sp>
        <p:nvSpPr>
          <p:cNvPr id="6" name="Fußzeilenplatzhalter 5"/>
          <p:cNvSpPr>
            <a:spLocks noGrp="1"/>
          </p:cNvSpPr>
          <p:nvPr>
            <p:ph type="ftr" sz="quarter" idx="13"/>
          </p:nvPr>
        </p:nvSpPr>
        <p:spPr/>
        <p:txBody>
          <a:bodyPr/>
          <a:lstStyle/>
          <a:p>
            <a:r>
              <a:rPr lang="en-GB" noProof="0"/>
              <a:t>Presentation title, date, author</a:t>
            </a:r>
            <a:endParaRPr lang="en-GB" noProof="0" dirty="0"/>
          </a:p>
        </p:txBody>
      </p:sp>
      <p:sp>
        <p:nvSpPr>
          <p:cNvPr id="7" name="Foliennummernplatzhalter 6"/>
          <p:cNvSpPr>
            <a:spLocks noGrp="1"/>
          </p:cNvSpPr>
          <p:nvPr>
            <p:ph type="sldNum" sz="quarter" idx="14"/>
          </p:nvPr>
        </p:nvSpPr>
        <p:spPr/>
        <p:txBody>
          <a:bodyPr/>
          <a:lstStyle/>
          <a:p>
            <a:fld id="{143B55C4-4F5A-416B-997D-6CE47EB0A945}" type="slidenum">
              <a:rPr lang="en-GB" noProof="0" smtClean="0"/>
              <a:pPr/>
              <a:t>‹#›</a:t>
            </a:fld>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9" name="Titel 7"/>
          <p:cNvSpPr>
            <a:spLocks noGrp="1"/>
          </p:cNvSpPr>
          <p:nvPr>
            <p:ph type="title" hasCustomPrompt="1"/>
          </p:nvPr>
        </p:nvSpPr>
        <p:spPr>
          <a:xfrm>
            <a:off x="367575" y="290572"/>
            <a:ext cx="8408850" cy="369332"/>
          </a:xfrm>
        </p:spPr>
        <p:txBody>
          <a:bodyPr/>
          <a:lstStyle/>
          <a:p>
            <a:r>
              <a:rPr lang="en-GB" noProof="0" dirty="0"/>
              <a:t>Click to add headline</a:t>
            </a:r>
          </a:p>
        </p:txBody>
      </p:sp>
      <p:pic>
        <p:nvPicPr>
          <p:cNvPr id="10"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37166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BA5CE2E9-12A2-427C-965D-EA946F81C33E}" type="datetime1">
              <a:rPr lang="en-GB" noProof="0" smtClean="0"/>
              <a:t>09/09/2022</a:t>
            </a:fld>
            <a:endParaRPr lang="en-GB" noProof="0" dirty="0"/>
          </a:p>
        </p:txBody>
      </p:sp>
      <p:sp>
        <p:nvSpPr>
          <p:cNvPr id="3" name="Fußzeilenplatzhalter 2"/>
          <p:cNvSpPr>
            <a:spLocks noGrp="1"/>
          </p:cNvSpPr>
          <p:nvPr>
            <p:ph type="ftr" sz="quarter" idx="11"/>
          </p:nvPr>
        </p:nvSpPr>
        <p:spPr/>
        <p:txBody>
          <a:bodyPr/>
          <a:lstStyle/>
          <a:p>
            <a:r>
              <a:rPr lang="en-GB" noProof="0"/>
              <a:t>Presentation title, date, author</a:t>
            </a:r>
          </a:p>
        </p:txBody>
      </p:sp>
      <p:sp>
        <p:nvSpPr>
          <p:cNvPr id="4" name="Foliennummernplatzhalter 3"/>
          <p:cNvSpPr>
            <a:spLocks noGrp="1"/>
          </p:cNvSpPr>
          <p:nvPr>
            <p:ph type="sldNum" sz="quarter" idx="12"/>
          </p:nvPr>
        </p:nvSpPr>
        <p:spPr/>
        <p:txBody>
          <a:bodyPr/>
          <a:lstStyle/>
          <a:p>
            <a:fld id="{143B55C4-4F5A-416B-997D-6CE47EB0A945}" type="slidenum">
              <a:rPr lang="en-GB" noProof="0" smtClean="0"/>
              <a:t>‹#›</a:t>
            </a:fld>
            <a:endParaRPr lang="en-GB" noProof="0" dirty="0"/>
          </a:p>
        </p:txBody>
      </p:sp>
      <p:pic>
        <p:nvPicPr>
          <p:cNvPr id="5"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2378070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ircle segment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t>09/09/2022</a:t>
            </a:fld>
            <a:endParaRPr lang="en-GB" dirty="0"/>
          </a:p>
        </p:txBody>
      </p:sp>
      <p:sp>
        <p:nvSpPr>
          <p:cNvPr id="4" name="Fußzeilenplatzhalter 3"/>
          <p:cNvSpPr>
            <a:spLocks noGrp="1"/>
          </p:cNvSpPr>
          <p:nvPr>
            <p:ph type="ftr" sz="quarter" idx="11"/>
          </p:nvPr>
        </p:nvSpPr>
        <p:spPr/>
        <p:txBody>
          <a:bodyPr/>
          <a:lstStyle/>
          <a:p>
            <a:r>
              <a:rPr lang="en-GB" dirty="0"/>
              <a:t>Presentation title, date, author</a:t>
            </a:r>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10" name="Rechteck 12"/>
          <p:cNvSpPr/>
          <p:nvPr userDrawn="1"/>
        </p:nvSpPr>
        <p:spPr>
          <a:xfrm>
            <a:off x="2" y="735013"/>
            <a:ext cx="3672981" cy="3960812"/>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rgbClr val="1F497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a:solidFill>
                <a:schemeClr val="tx1"/>
              </a:solidFill>
              <a:latin typeface="BISansOpti"/>
            </a:endParaRPr>
          </a:p>
        </p:txBody>
      </p:sp>
      <p:sp>
        <p:nvSpPr>
          <p:cNvPr id="11" name="Bildplatzhalter 20"/>
          <p:cNvSpPr>
            <a:spLocks noGrp="1"/>
          </p:cNvSpPr>
          <p:nvPr>
            <p:ph type="pic" sz="quarter" idx="13"/>
          </p:nvPr>
        </p:nvSpPr>
        <p:spPr>
          <a:xfrm>
            <a:off x="-2" y="731224"/>
            <a:ext cx="3579143" cy="3963175"/>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a:t>Click icon to add picture</a:t>
            </a:r>
            <a:endParaRPr lang="de-DE" dirty="0"/>
          </a:p>
        </p:txBody>
      </p:sp>
      <p:sp>
        <p:nvSpPr>
          <p:cNvPr id="13" name="Titel 7"/>
          <p:cNvSpPr>
            <a:spLocks noGrp="1"/>
          </p:cNvSpPr>
          <p:nvPr>
            <p:ph type="title" hasCustomPrompt="1"/>
          </p:nvPr>
        </p:nvSpPr>
        <p:spPr>
          <a:xfrm>
            <a:off x="367575" y="290572"/>
            <a:ext cx="8408850" cy="369332"/>
          </a:xfrm>
        </p:spPr>
        <p:txBody>
          <a:bodyPr/>
          <a:lstStyle/>
          <a:p>
            <a:r>
              <a:rPr lang="en-GB" noProof="0" dirty="0"/>
              <a:t>Click to add headline</a:t>
            </a:r>
          </a:p>
        </p:txBody>
      </p:sp>
      <p:sp>
        <p:nvSpPr>
          <p:cNvPr id="14" name="Inhaltsplatzhalter 11"/>
          <p:cNvSpPr>
            <a:spLocks noGrp="1"/>
          </p:cNvSpPr>
          <p:nvPr>
            <p:ph sz="quarter" idx="14" hasCustomPrompt="1"/>
          </p:nvPr>
        </p:nvSpPr>
        <p:spPr>
          <a:xfrm>
            <a:off x="3848399" y="1198800"/>
            <a:ext cx="4928026" cy="33948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a:t>Click to add text</a:t>
            </a:r>
          </a:p>
        </p:txBody>
      </p:sp>
      <p:pic>
        <p:nvPicPr>
          <p:cNvPr id="12"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3124825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6231" t="19013" b="13976"/>
          <a:stretch/>
        </p:blipFill>
        <p:spPr bwMode="auto">
          <a:xfrm>
            <a:off x="0" y="0"/>
            <a:ext cx="642979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0"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5" y="1991163"/>
            <a:ext cx="5374856" cy="738664"/>
          </a:xfrm>
        </p:spPr>
        <p:txBody>
          <a:bodyPr wrap="square">
            <a:spAutoFit/>
          </a:bodyPr>
          <a:lstStyle>
            <a:lvl1pPr>
              <a:defRPr sz="4800">
                <a:solidFill>
                  <a:srgbClr val="003366"/>
                </a:solidFill>
              </a:defRPr>
            </a:lvl1pPr>
          </a:lstStyle>
          <a:p>
            <a:r>
              <a:rPr lang="en-GB" noProof="0" dirty="0"/>
              <a:t>Click to add title</a:t>
            </a:r>
          </a:p>
        </p:txBody>
      </p:sp>
      <p:sp>
        <p:nvSpPr>
          <p:cNvPr id="3" name="Untertitel 2"/>
          <p:cNvSpPr>
            <a:spLocks noGrp="1"/>
          </p:cNvSpPr>
          <p:nvPr>
            <p:ph type="subTitle" idx="1" hasCustomPrompt="1"/>
          </p:nvPr>
        </p:nvSpPr>
        <p:spPr>
          <a:xfrm>
            <a:off x="367575" y="3572753"/>
            <a:ext cx="5374856" cy="369332"/>
          </a:xfrm>
        </p:spPr>
        <p:txBody>
          <a:bodyPr wrap="square">
            <a:spAutoFit/>
          </a:bodyPr>
          <a:lstStyle>
            <a:lvl1pPr marL="0" indent="0" algn="l">
              <a:buNone/>
              <a:defRPr sz="2400" b="0" i="0">
                <a:solidFill>
                  <a:srgbClr val="003366"/>
                </a:solidFill>
                <a:latin typeface="BISansOptiCond"/>
                <a:cs typeface="BISansOptiCond"/>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add subtitle</a:t>
            </a:r>
          </a:p>
        </p:txBody>
      </p:sp>
      <p:cxnSp>
        <p:nvCxnSpPr>
          <p:cNvPr id="11" name="Gerade Verbindung 10"/>
          <p:cNvCxnSpPr/>
          <p:nvPr userDrawn="1"/>
        </p:nvCxnSpPr>
        <p:spPr>
          <a:xfrm>
            <a:off x="0"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lvl1pPr marL="0" indent="0" algn="ctr">
              <a:buNone/>
              <a:defRPr lang="de-DE" sz="3000" b="0" i="0" dirty="0">
                <a:solidFill>
                  <a:schemeClr val="bg1"/>
                </a:solidFill>
                <a:latin typeface="BISansOptiCond"/>
                <a:cs typeface="BISansOptiCond"/>
              </a:defRPr>
            </a:lvl1pPr>
          </a:lstStyle>
          <a:p>
            <a:pPr marL="0" lvl="0" algn="ctr"/>
            <a:r>
              <a:rPr lang="en-GB" noProof="0" dirty="0"/>
              <a:t>Add. info [font size variable]</a:t>
            </a:r>
          </a:p>
        </p:txBody>
      </p:sp>
      <p:pic>
        <p:nvPicPr>
          <p:cNvPr id="10" name="Grafik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19694" y="4416838"/>
            <a:ext cx="1259701" cy="381600"/>
          </a:xfrm>
          <a:prstGeom prst="rect">
            <a:avLst/>
          </a:prstGeom>
        </p:spPr>
      </p:pic>
    </p:spTree>
    <p:extLst>
      <p:ext uri="{BB962C8B-B14F-4D97-AF65-F5344CB8AC3E}">
        <p14:creationId xmlns:p14="http://schemas.microsoft.com/office/powerpoint/2010/main" val="4162297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ircle segment_02">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t>09/09/2022</a:t>
            </a:fld>
            <a:endParaRPr lang="en-GB" dirty="0"/>
          </a:p>
        </p:txBody>
      </p:sp>
      <p:sp>
        <p:nvSpPr>
          <p:cNvPr id="4" name="Fußzeilenplatzhalter 3"/>
          <p:cNvSpPr>
            <a:spLocks noGrp="1"/>
          </p:cNvSpPr>
          <p:nvPr>
            <p:ph type="ftr" sz="quarter" idx="11"/>
          </p:nvPr>
        </p:nvSpPr>
        <p:spPr/>
        <p:txBody>
          <a:bodyPr/>
          <a:lstStyle/>
          <a:p>
            <a:r>
              <a:rPr lang="en-GB" dirty="0"/>
              <a:t>Presentation title, date, author</a:t>
            </a:r>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10" name="Rechteck 12"/>
          <p:cNvSpPr/>
          <p:nvPr userDrawn="1"/>
        </p:nvSpPr>
        <p:spPr>
          <a:xfrm>
            <a:off x="2" y="735013"/>
            <a:ext cx="3672981" cy="3960812"/>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a:solidFill>
                <a:schemeClr val="tx1"/>
              </a:solidFill>
              <a:latin typeface="BISansOpti"/>
            </a:endParaRPr>
          </a:p>
        </p:txBody>
      </p:sp>
      <p:sp>
        <p:nvSpPr>
          <p:cNvPr id="11" name="Bildplatzhalter 20"/>
          <p:cNvSpPr>
            <a:spLocks noGrp="1"/>
          </p:cNvSpPr>
          <p:nvPr>
            <p:ph type="pic" sz="quarter" idx="13"/>
          </p:nvPr>
        </p:nvSpPr>
        <p:spPr>
          <a:xfrm>
            <a:off x="-2" y="731224"/>
            <a:ext cx="3579143" cy="3963175"/>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a:t>Click icon to add picture</a:t>
            </a:r>
            <a:endParaRPr lang="de-DE" dirty="0"/>
          </a:p>
        </p:txBody>
      </p:sp>
      <p:sp>
        <p:nvSpPr>
          <p:cNvPr id="12" name="Titel 7"/>
          <p:cNvSpPr>
            <a:spLocks noGrp="1"/>
          </p:cNvSpPr>
          <p:nvPr>
            <p:ph type="title" hasCustomPrompt="1"/>
          </p:nvPr>
        </p:nvSpPr>
        <p:spPr>
          <a:xfrm>
            <a:off x="367575" y="290572"/>
            <a:ext cx="8408850" cy="369332"/>
          </a:xfrm>
        </p:spPr>
        <p:txBody>
          <a:bodyPr/>
          <a:lstStyle/>
          <a:p>
            <a:r>
              <a:rPr lang="en-GB" noProof="0" dirty="0"/>
              <a:t>Click to add headline</a:t>
            </a:r>
          </a:p>
        </p:txBody>
      </p:sp>
      <p:sp>
        <p:nvSpPr>
          <p:cNvPr id="14" name="Inhaltsplatzhalter 11"/>
          <p:cNvSpPr>
            <a:spLocks noGrp="1"/>
          </p:cNvSpPr>
          <p:nvPr>
            <p:ph sz="quarter" idx="14" hasCustomPrompt="1"/>
          </p:nvPr>
        </p:nvSpPr>
        <p:spPr>
          <a:xfrm>
            <a:off x="3848399" y="1198800"/>
            <a:ext cx="4928026" cy="33948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a:t>Click to add text</a:t>
            </a:r>
          </a:p>
        </p:txBody>
      </p:sp>
      <p:pic>
        <p:nvPicPr>
          <p:cNvPr id="13"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93124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ircle segment_03">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t>09/09/2022</a:t>
            </a:fld>
            <a:endParaRPr lang="en-GB" dirty="0"/>
          </a:p>
        </p:txBody>
      </p:sp>
      <p:sp>
        <p:nvSpPr>
          <p:cNvPr id="4" name="Fußzeilenplatzhalter 3"/>
          <p:cNvSpPr>
            <a:spLocks noGrp="1"/>
          </p:cNvSpPr>
          <p:nvPr>
            <p:ph type="ftr" sz="quarter" idx="11"/>
          </p:nvPr>
        </p:nvSpPr>
        <p:spPr/>
        <p:txBody>
          <a:bodyPr/>
          <a:lstStyle/>
          <a:p>
            <a:r>
              <a:rPr lang="en-GB" dirty="0"/>
              <a:t>Presentation title, date, author</a:t>
            </a:r>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10" name="Rechteck 12"/>
          <p:cNvSpPr/>
          <p:nvPr userDrawn="1"/>
        </p:nvSpPr>
        <p:spPr>
          <a:xfrm>
            <a:off x="2" y="735013"/>
            <a:ext cx="3672981" cy="3960812"/>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a:solidFill>
                <a:schemeClr val="tx1"/>
              </a:solidFill>
              <a:latin typeface="BISansOpti"/>
            </a:endParaRPr>
          </a:p>
        </p:txBody>
      </p:sp>
      <p:sp>
        <p:nvSpPr>
          <p:cNvPr id="11" name="Bildplatzhalter 20"/>
          <p:cNvSpPr>
            <a:spLocks noGrp="1"/>
          </p:cNvSpPr>
          <p:nvPr>
            <p:ph type="pic" sz="quarter" idx="13"/>
          </p:nvPr>
        </p:nvSpPr>
        <p:spPr>
          <a:xfrm>
            <a:off x="-2" y="731224"/>
            <a:ext cx="3579143" cy="3963175"/>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a:t>Click icon to add picture</a:t>
            </a:r>
            <a:endParaRPr lang="de-DE" dirty="0"/>
          </a:p>
        </p:txBody>
      </p:sp>
      <p:sp>
        <p:nvSpPr>
          <p:cNvPr id="12" name="Titel 7"/>
          <p:cNvSpPr>
            <a:spLocks noGrp="1"/>
          </p:cNvSpPr>
          <p:nvPr>
            <p:ph type="title" hasCustomPrompt="1"/>
          </p:nvPr>
        </p:nvSpPr>
        <p:spPr>
          <a:xfrm>
            <a:off x="367575" y="290572"/>
            <a:ext cx="8408850" cy="369332"/>
          </a:xfrm>
        </p:spPr>
        <p:txBody>
          <a:bodyPr/>
          <a:lstStyle/>
          <a:p>
            <a:r>
              <a:rPr lang="en-GB" noProof="0" dirty="0"/>
              <a:t>Click to add headline</a:t>
            </a:r>
          </a:p>
        </p:txBody>
      </p:sp>
      <p:sp>
        <p:nvSpPr>
          <p:cNvPr id="14" name="Inhaltsplatzhalter 11"/>
          <p:cNvSpPr>
            <a:spLocks noGrp="1"/>
          </p:cNvSpPr>
          <p:nvPr>
            <p:ph sz="quarter" idx="14" hasCustomPrompt="1"/>
          </p:nvPr>
        </p:nvSpPr>
        <p:spPr>
          <a:xfrm>
            <a:off x="3848399" y="1198800"/>
            <a:ext cx="4928026" cy="33948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a:t>Click to add text</a:t>
            </a:r>
          </a:p>
        </p:txBody>
      </p:sp>
      <p:pic>
        <p:nvPicPr>
          <p:cNvPr id="13"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302413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ircle segment_04">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t>09/09/2022</a:t>
            </a:fld>
            <a:endParaRPr lang="en-GB" dirty="0"/>
          </a:p>
        </p:txBody>
      </p:sp>
      <p:sp>
        <p:nvSpPr>
          <p:cNvPr id="4" name="Fußzeilenplatzhalter 3"/>
          <p:cNvSpPr>
            <a:spLocks noGrp="1"/>
          </p:cNvSpPr>
          <p:nvPr>
            <p:ph type="ftr" sz="quarter" idx="11"/>
          </p:nvPr>
        </p:nvSpPr>
        <p:spPr/>
        <p:txBody>
          <a:bodyPr/>
          <a:lstStyle/>
          <a:p>
            <a:r>
              <a:rPr lang="en-GB" dirty="0"/>
              <a:t>Presentation title, date, author</a:t>
            </a:r>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10" name="Rechteck 12"/>
          <p:cNvSpPr/>
          <p:nvPr userDrawn="1"/>
        </p:nvSpPr>
        <p:spPr>
          <a:xfrm>
            <a:off x="2" y="735013"/>
            <a:ext cx="3672981" cy="3960812"/>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a:solidFill>
                <a:schemeClr val="tx1"/>
              </a:solidFill>
              <a:latin typeface="BISansOpti"/>
            </a:endParaRPr>
          </a:p>
        </p:txBody>
      </p:sp>
      <p:sp>
        <p:nvSpPr>
          <p:cNvPr id="11" name="Bildplatzhalter 20"/>
          <p:cNvSpPr>
            <a:spLocks noGrp="1"/>
          </p:cNvSpPr>
          <p:nvPr>
            <p:ph type="pic" sz="quarter" idx="13"/>
          </p:nvPr>
        </p:nvSpPr>
        <p:spPr>
          <a:xfrm>
            <a:off x="-2" y="731224"/>
            <a:ext cx="3579143" cy="3963175"/>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a:t>Click icon to add picture</a:t>
            </a:r>
            <a:endParaRPr lang="de-DE" dirty="0"/>
          </a:p>
        </p:txBody>
      </p:sp>
      <p:sp>
        <p:nvSpPr>
          <p:cNvPr id="12" name="Titel 7"/>
          <p:cNvSpPr>
            <a:spLocks noGrp="1"/>
          </p:cNvSpPr>
          <p:nvPr>
            <p:ph type="title" hasCustomPrompt="1"/>
          </p:nvPr>
        </p:nvSpPr>
        <p:spPr>
          <a:xfrm>
            <a:off x="367575" y="290572"/>
            <a:ext cx="8408850" cy="369332"/>
          </a:xfrm>
        </p:spPr>
        <p:txBody>
          <a:bodyPr/>
          <a:lstStyle/>
          <a:p>
            <a:r>
              <a:rPr lang="en-GB" noProof="0" dirty="0"/>
              <a:t>Click to add headline</a:t>
            </a:r>
          </a:p>
        </p:txBody>
      </p:sp>
      <p:sp>
        <p:nvSpPr>
          <p:cNvPr id="14" name="Inhaltsplatzhalter 11"/>
          <p:cNvSpPr>
            <a:spLocks noGrp="1"/>
          </p:cNvSpPr>
          <p:nvPr>
            <p:ph sz="quarter" idx="14" hasCustomPrompt="1"/>
          </p:nvPr>
        </p:nvSpPr>
        <p:spPr>
          <a:xfrm>
            <a:off x="3848399" y="1198800"/>
            <a:ext cx="4928026" cy="33948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a:t>Click to add text</a:t>
            </a:r>
          </a:p>
        </p:txBody>
      </p:sp>
      <p:pic>
        <p:nvPicPr>
          <p:cNvPr id="13"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241879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ircle segment_05">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t>09/09/2022</a:t>
            </a:fld>
            <a:endParaRPr lang="en-GB" dirty="0"/>
          </a:p>
        </p:txBody>
      </p:sp>
      <p:sp>
        <p:nvSpPr>
          <p:cNvPr id="4" name="Fußzeilenplatzhalter 3"/>
          <p:cNvSpPr>
            <a:spLocks noGrp="1"/>
          </p:cNvSpPr>
          <p:nvPr>
            <p:ph type="ftr" sz="quarter" idx="11"/>
          </p:nvPr>
        </p:nvSpPr>
        <p:spPr/>
        <p:txBody>
          <a:bodyPr/>
          <a:lstStyle/>
          <a:p>
            <a:r>
              <a:rPr lang="en-GB" dirty="0"/>
              <a:t>Presentation title, date, author</a:t>
            </a:r>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10" name="Rechteck 12"/>
          <p:cNvSpPr/>
          <p:nvPr userDrawn="1"/>
        </p:nvSpPr>
        <p:spPr>
          <a:xfrm>
            <a:off x="2" y="735013"/>
            <a:ext cx="3672981" cy="3960812"/>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a:solidFill>
                <a:schemeClr val="tx1"/>
              </a:solidFill>
              <a:latin typeface="BISansOpti"/>
            </a:endParaRPr>
          </a:p>
        </p:txBody>
      </p:sp>
      <p:sp>
        <p:nvSpPr>
          <p:cNvPr id="11" name="Bildplatzhalter 20"/>
          <p:cNvSpPr>
            <a:spLocks noGrp="1"/>
          </p:cNvSpPr>
          <p:nvPr>
            <p:ph type="pic" sz="quarter" idx="13"/>
          </p:nvPr>
        </p:nvSpPr>
        <p:spPr>
          <a:xfrm>
            <a:off x="-2" y="731224"/>
            <a:ext cx="3579143" cy="3963175"/>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a:t>Click icon to add picture</a:t>
            </a:r>
            <a:endParaRPr lang="de-DE" dirty="0"/>
          </a:p>
        </p:txBody>
      </p:sp>
      <p:sp>
        <p:nvSpPr>
          <p:cNvPr id="12" name="Titel 7"/>
          <p:cNvSpPr>
            <a:spLocks noGrp="1"/>
          </p:cNvSpPr>
          <p:nvPr>
            <p:ph type="title" hasCustomPrompt="1"/>
          </p:nvPr>
        </p:nvSpPr>
        <p:spPr>
          <a:xfrm>
            <a:off x="367575" y="290572"/>
            <a:ext cx="8408850" cy="369332"/>
          </a:xfrm>
        </p:spPr>
        <p:txBody>
          <a:bodyPr/>
          <a:lstStyle/>
          <a:p>
            <a:r>
              <a:rPr lang="en-GB" noProof="0" dirty="0"/>
              <a:t>Click to add headline</a:t>
            </a:r>
          </a:p>
        </p:txBody>
      </p:sp>
      <p:sp>
        <p:nvSpPr>
          <p:cNvPr id="14" name="Inhaltsplatzhalter 11"/>
          <p:cNvSpPr>
            <a:spLocks noGrp="1"/>
          </p:cNvSpPr>
          <p:nvPr>
            <p:ph sz="quarter" idx="14" hasCustomPrompt="1"/>
          </p:nvPr>
        </p:nvSpPr>
        <p:spPr>
          <a:xfrm>
            <a:off x="3848399" y="1198800"/>
            <a:ext cx="4928026" cy="33948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a:t>Click to add text</a:t>
            </a:r>
          </a:p>
        </p:txBody>
      </p:sp>
      <p:pic>
        <p:nvPicPr>
          <p:cNvPr id="13"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319117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ircle segment_06">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t>09/09/2022</a:t>
            </a:fld>
            <a:endParaRPr lang="en-GB" dirty="0"/>
          </a:p>
        </p:txBody>
      </p:sp>
      <p:sp>
        <p:nvSpPr>
          <p:cNvPr id="4" name="Fußzeilenplatzhalter 3"/>
          <p:cNvSpPr>
            <a:spLocks noGrp="1"/>
          </p:cNvSpPr>
          <p:nvPr>
            <p:ph type="ftr" sz="quarter" idx="11"/>
          </p:nvPr>
        </p:nvSpPr>
        <p:spPr/>
        <p:txBody>
          <a:bodyPr/>
          <a:lstStyle/>
          <a:p>
            <a:r>
              <a:rPr lang="en-GB" dirty="0"/>
              <a:t>Presentation title, date, author</a:t>
            </a:r>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10" name="Rechteck 12"/>
          <p:cNvSpPr/>
          <p:nvPr userDrawn="1"/>
        </p:nvSpPr>
        <p:spPr>
          <a:xfrm>
            <a:off x="2" y="735013"/>
            <a:ext cx="3672981" cy="3960812"/>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a:solidFill>
                <a:schemeClr val="tx1"/>
              </a:solidFill>
              <a:latin typeface="BISansOpti"/>
            </a:endParaRPr>
          </a:p>
        </p:txBody>
      </p:sp>
      <p:sp>
        <p:nvSpPr>
          <p:cNvPr id="11" name="Bildplatzhalter 20"/>
          <p:cNvSpPr>
            <a:spLocks noGrp="1"/>
          </p:cNvSpPr>
          <p:nvPr>
            <p:ph type="pic" sz="quarter" idx="13"/>
          </p:nvPr>
        </p:nvSpPr>
        <p:spPr>
          <a:xfrm>
            <a:off x="-2" y="731224"/>
            <a:ext cx="3579143" cy="3963175"/>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a:t>Click icon to add picture</a:t>
            </a:r>
            <a:endParaRPr lang="de-DE" dirty="0"/>
          </a:p>
        </p:txBody>
      </p:sp>
      <p:sp>
        <p:nvSpPr>
          <p:cNvPr id="12" name="Titel 7"/>
          <p:cNvSpPr>
            <a:spLocks noGrp="1"/>
          </p:cNvSpPr>
          <p:nvPr>
            <p:ph type="title" hasCustomPrompt="1"/>
          </p:nvPr>
        </p:nvSpPr>
        <p:spPr>
          <a:xfrm>
            <a:off x="367575" y="290572"/>
            <a:ext cx="8408850" cy="369332"/>
          </a:xfrm>
        </p:spPr>
        <p:txBody>
          <a:bodyPr/>
          <a:lstStyle/>
          <a:p>
            <a:r>
              <a:rPr lang="en-GB" noProof="0" dirty="0"/>
              <a:t>Click to add headline</a:t>
            </a:r>
          </a:p>
        </p:txBody>
      </p:sp>
      <p:sp>
        <p:nvSpPr>
          <p:cNvPr id="14" name="Inhaltsplatzhalter 11"/>
          <p:cNvSpPr>
            <a:spLocks noGrp="1"/>
          </p:cNvSpPr>
          <p:nvPr>
            <p:ph sz="quarter" idx="14" hasCustomPrompt="1"/>
          </p:nvPr>
        </p:nvSpPr>
        <p:spPr>
          <a:xfrm>
            <a:off x="3848399" y="1198800"/>
            <a:ext cx="4928026" cy="33948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a:t>Click to add text</a:t>
            </a:r>
          </a:p>
        </p:txBody>
      </p:sp>
      <p:pic>
        <p:nvPicPr>
          <p:cNvPr id="13"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2778338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ircle segment_07">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t>09/09/2022</a:t>
            </a:fld>
            <a:endParaRPr lang="en-GB" dirty="0"/>
          </a:p>
        </p:txBody>
      </p:sp>
      <p:sp>
        <p:nvSpPr>
          <p:cNvPr id="4" name="Fußzeilenplatzhalter 3"/>
          <p:cNvSpPr>
            <a:spLocks noGrp="1"/>
          </p:cNvSpPr>
          <p:nvPr>
            <p:ph type="ftr" sz="quarter" idx="11"/>
          </p:nvPr>
        </p:nvSpPr>
        <p:spPr/>
        <p:txBody>
          <a:bodyPr/>
          <a:lstStyle/>
          <a:p>
            <a:r>
              <a:rPr lang="en-GB" dirty="0"/>
              <a:t>Presentation title, date, author</a:t>
            </a:r>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10" name="Rechteck 12"/>
          <p:cNvSpPr/>
          <p:nvPr userDrawn="1"/>
        </p:nvSpPr>
        <p:spPr>
          <a:xfrm>
            <a:off x="2" y="735013"/>
            <a:ext cx="3672981" cy="3960812"/>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a:solidFill>
                <a:schemeClr val="tx1"/>
              </a:solidFill>
              <a:latin typeface="BISansOpti"/>
            </a:endParaRPr>
          </a:p>
        </p:txBody>
      </p:sp>
      <p:sp>
        <p:nvSpPr>
          <p:cNvPr id="11" name="Bildplatzhalter 20"/>
          <p:cNvSpPr>
            <a:spLocks noGrp="1"/>
          </p:cNvSpPr>
          <p:nvPr>
            <p:ph type="pic" sz="quarter" idx="13"/>
          </p:nvPr>
        </p:nvSpPr>
        <p:spPr>
          <a:xfrm>
            <a:off x="-2" y="731224"/>
            <a:ext cx="3579143" cy="3963175"/>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a:t>Click icon to add picture</a:t>
            </a:r>
            <a:endParaRPr lang="de-DE" dirty="0"/>
          </a:p>
        </p:txBody>
      </p:sp>
      <p:sp>
        <p:nvSpPr>
          <p:cNvPr id="13" name="Inhaltsplatzhalter 11"/>
          <p:cNvSpPr>
            <a:spLocks noGrp="1"/>
          </p:cNvSpPr>
          <p:nvPr>
            <p:ph sz="quarter" idx="14" hasCustomPrompt="1"/>
          </p:nvPr>
        </p:nvSpPr>
        <p:spPr>
          <a:xfrm>
            <a:off x="3848399" y="1198800"/>
            <a:ext cx="4928026" cy="33948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a:t>Click to add text</a:t>
            </a:r>
          </a:p>
        </p:txBody>
      </p:sp>
      <p:sp>
        <p:nvSpPr>
          <p:cNvPr id="12" name="Titel 7"/>
          <p:cNvSpPr>
            <a:spLocks noGrp="1"/>
          </p:cNvSpPr>
          <p:nvPr>
            <p:ph type="title" hasCustomPrompt="1"/>
          </p:nvPr>
        </p:nvSpPr>
        <p:spPr>
          <a:xfrm>
            <a:off x="367575" y="290572"/>
            <a:ext cx="8408850" cy="369332"/>
          </a:xfrm>
        </p:spPr>
        <p:txBody>
          <a:bodyPr/>
          <a:lstStyle/>
          <a:p>
            <a:r>
              <a:rPr lang="en-GB" noProof="0" dirty="0"/>
              <a:t>Click to add headline</a:t>
            </a:r>
          </a:p>
        </p:txBody>
      </p:sp>
      <p:pic>
        <p:nvPicPr>
          <p:cNvPr id="14"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1693271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ing chart english">
    <p:spTree>
      <p:nvGrpSpPr>
        <p:cNvPr id="1" name=""/>
        <p:cNvGrpSpPr/>
        <p:nvPr/>
      </p:nvGrpSpPr>
      <p:grpSpPr>
        <a:xfrm>
          <a:off x="0" y="0"/>
          <a:ext cx="0" cy="0"/>
          <a:chOff x="0" y="0"/>
          <a:chExt cx="0" cy="0"/>
        </a:xfrm>
      </p:grpSpPr>
      <p:sp>
        <p:nvSpPr>
          <p:cNvPr id="34" name="Rechteck 3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6231" t="19013" b="13976"/>
          <a:stretch/>
        </p:blipFill>
        <p:spPr bwMode="auto">
          <a:xfrm>
            <a:off x="0" y="0"/>
            <a:ext cx="642979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userDrawn="1"/>
        </p:nvCxnSpPr>
        <p:spPr>
          <a:xfrm>
            <a:off x="0"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11" name="Textfeld 10"/>
          <p:cNvSpPr txBox="1"/>
          <p:nvPr userDrawn="1"/>
        </p:nvSpPr>
        <p:spPr>
          <a:xfrm>
            <a:off x="367575" y="3985478"/>
            <a:ext cx="1350693" cy="153888"/>
          </a:xfrm>
          <a:prstGeom prst="rect">
            <a:avLst/>
          </a:prstGeom>
          <a:noFill/>
        </p:spPr>
        <p:txBody>
          <a:bodyPr wrap="square" lIns="0" tIns="0" rIns="0" bIns="0" rtlCol="0">
            <a:spAutoFit/>
          </a:bodyPr>
          <a:lstStyle/>
          <a:p>
            <a:pPr algn="just"/>
            <a:r>
              <a:rPr lang="de-DE" sz="1000" dirty="0">
                <a:solidFill>
                  <a:srgbClr val="1F497D"/>
                </a:solidFill>
                <a:latin typeface="BISansOpti"/>
                <a:cs typeface="BISansOpti"/>
              </a:rPr>
              <a:t>© Boehringer Ingelheim</a:t>
            </a:r>
          </a:p>
        </p:txBody>
      </p:sp>
      <p:sp>
        <p:nvSpPr>
          <p:cNvPr id="13" name="Freeform 1"/>
          <p:cNvSpPr>
            <a:spLocks noChangeAspect="1" noChangeArrowheads="1"/>
          </p:cNvSpPr>
          <p:nvPr userDrawn="1"/>
        </p:nvSpPr>
        <p:spPr bwMode="auto">
          <a:xfrm>
            <a:off x="367576" y="1233589"/>
            <a:ext cx="359997" cy="359997"/>
          </a:xfrm>
          <a:custGeom>
            <a:avLst/>
            <a:gdLst>
              <a:gd name="T0" fmla="*/ 19 w 14438"/>
              <a:gd name="T1" fmla="*/ 766 h 14438"/>
              <a:gd name="T2" fmla="*/ 35 w 14438"/>
              <a:gd name="T3" fmla="*/ 713 h 14438"/>
              <a:gd name="T4" fmla="*/ 95 w 14438"/>
              <a:gd name="T5" fmla="*/ 535 h 14438"/>
              <a:gd name="T6" fmla="*/ 182 w 14438"/>
              <a:gd name="T7" fmla="*/ 382 h 14438"/>
              <a:gd name="T8" fmla="*/ 295 w 14438"/>
              <a:gd name="T9" fmla="*/ 253 h 14438"/>
              <a:gd name="T10" fmla="*/ 434 w 14438"/>
              <a:gd name="T11" fmla="*/ 149 h 14438"/>
              <a:gd name="T12" fmla="*/ 598 w 14438"/>
              <a:gd name="T13" fmla="*/ 69 h 14438"/>
              <a:gd name="T14" fmla="*/ 13628 w 14438"/>
              <a:gd name="T15" fmla="*/ 0 h 14438"/>
              <a:gd name="T16" fmla="*/ 13675 w 14438"/>
              <a:gd name="T17" fmla="*/ 24 h 14438"/>
              <a:gd name="T18" fmla="*/ 13780 w 14438"/>
              <a:gd name="T19" fmla="*/ 53 h 14438"/>
              <a:gd name="T20" fmla="*/ 14011 w 14438"/>
              <a:gd name="T21" fmla="*/ 154 h 14438"/>
              <a:gd name="T22" fmla="*/ 14194 w 14438"/>
              <a:gd name="T23" fmla="*/ 297 h 14438"/>
              <a:gd name="T24" fmla="*/ 14328 w 14438"/>
              <a:gd name="T25" fmla="*/ 482 h 14438"/>
              <a:gd name="T26" fmla="*/ 14409 w 14438"/>
              <a:gd name="T27" fmla="*/ 706 h 14438"/>
              <a:gd name="T28" fmla="*/ 14437 w 14438"/>
              <a:gd name="T29" fmla="*/ 966 h 14438"/>
              <a:gd name="T30" fmla="*/ 14420 w 14438"/>
              <a:gd name="T31" fmla="*/ 13674 h 14438"/>
              <a:gd name="T32" fmla="*/ 14331 w 14438"/>
              <a:gd name="T33" fmla="*/ 13951 h 14438"/>
              <a:gd name="T34" fmla="*/ 14175 w 14438"/>
              <a:gd name="T35" fmla="*/ 14172 h 14438"/>
              <a:gd name="T36" fmla="*/ 13956 w 14438"/>
              <a:gd name="T37" fmla="*/ 14330 h 14438"/>
              <a:gd name="T38" fmla="*/ 13681 w 14438"/>
              <a:gd name="T39" fmla="*/ 14419 h 14438"/>
              <a:gd name="T40" fmla="*/ 10100 w 14438"/>
              <a:gd name="T41" fmla="*/ 14436 h 14438"/>
              <a:gd name="T42" fmla="*/ 9952 w 14438"/>
              <a:gd name="T43" fmla="*/ 14430 h 14438"/>
              <a:gd name="T44" fmla="*/ 11610 w 14438"/>
              <a:gd name="T45" fmla="*/ 9040 h 14438"/>
              <a:gd name="T46" fmla="*/ 11676 w 14438"/>
              <a:gd name="T47" fmla="*/ 9035 h 14438"/>
              <a:gd name="T48" fmla="*/ 11714 w 14438"/>
              <a:gd name="T49" fmla="*/ 9022 h 14438"/>
              <a:gd name="T50" fmla="*/ 11742 w 14438"/>
              <a:gd name="T51" fmla="*/ 8998 h 14438"/>
              <a:gd name="T52" fmla="*/ 11764 w 14438"/>
              <a:gd name="T53" fmla="*/ 8961 h 14438"/>
              <a:gd name="T54" fmla="*/ 11778 w 14438"/>
              <a:gd name="T55" fmla="*/ 8907 h 14438"/>
              <a:gd name="T56" fmla="*/ 9941 w 14438"/>
              <a:gd name="T57" fmla="*/ 6760 h 14438"/>
              <a:gd name="T58" fmla="*/ 9960 w 14438"/>
              <a:gd name="T59" fmla="*/ 5621 h 14438"/>
              <a:gd name="T60" fmla="*/ 10017 w 14438"/>
              <a:gd name="T61" fmla="*/ 5333 h 14438"/>
              <a:gd name="T62" fmla="*/ 10120 w 14438"/>
              <a:gd name="T63" fmla="*/ 5080 h 14438"/>
              <a:gd name="T64" fmla="*/ 10272 w 14438"/>
              <a:gd name="T65" fmla="*/ 4871 h 14438"/>
              <a:gd name="T66" fmla="*/ 10468 w 14438"/>
              <a:gd name="T67" fmla="*/ 4711 h 14438"/>
              <a:gd name="T68" fmla="*/ 10705 w 14438"/>
              <a:gd name="T69" fmla="*/ 4604 h 14438"/>
              <a:gd name="T70" fmla="*/ 10979 w 14438"/>
              <a:gd name="T71" fmla="*/ 4553 h 14438"/>
              <a:gd name="T72" fmla="*/ 11951 w 14438"/>
              <a:gd name="T73" fmla="*/ 4524 h 14438"/>
              <a:gd name="T74" fmla="*/ 12121 w 14438"/>
              <a:gd name="T75" fmla="*/ 2250 h 14438"/>
              <a:gd name="T76" fmla="*/ 10259 w 14438"/>
              <a:gd name="T77" fmla="*/ 2251 h 14438"/>
              <a:gd name="T78" fmla="*/ 9557 w 14438"/>
              <a:gd name="T79" fmla="*/ 2358 h 14438"/>
              <a:gd name="T80" fmla="*/ 8930 w 14438"/>
              <a:gd name="T81" fmla="*/ 2653 h 14438"/>
              <a:gd name="T82" fmla="*/ 8449 w 14438"/>
              <a:gd name="T83" fmla="*/ 3073 h 14438"/>
              <a:gd name="T84" fmla="*/ 8169 w 14438"/>
              <a:gd name="T85" fmla="*/ 3441 h 14438"/>
              <a:gd name="T86" fmla="*/ 7901 w 14438"/>
              <a:gd name="T87" fmla="*/ 3976 h 14438"/>
              <a:gd name="T88" fmla="*/ 7695 w 14438"/>
              <a:gd name="T89" fmla="*/ 4854 h 14438"/>
              <a:gd name="T90" fmla="*/ 7660 w 14438"/>
              <a:gd name="T91" fmla="*/ 5883 h 14438"/>
              <a:gd name="T92" fmla="*/ 5871 w 14438"/>
              <a:gd name="T93" fmla="*/ 6766 h 14438"/>
              <a:gd name="T94" fmla="*/ 7656 w 14438"/>
              <a:gd name="T95" fmla="*/ 14428 h 14438"/>
              <a:gd name="T96" fmla="*/ 7590 w 14438"/>
              <a:gd name="T97" fmla="*/ 14436 h 14438"/>
              <a:gd name="T98" fmla="*/ 820 w 14438"/>
              <a:gd name="T99" fmla="*/ 14431 h 14438"/>
              <a:gd name="T100" fmla="*/ 608 w 14438"/>
              <a:gd name="T101" fmla="*/ 14386 h 14438"/>
              <a:gd name="T102" fmla="*/ 418 w 14438"/>
              <a:gd name="T103" fmla="*/ 14292 h 14438"/>
              <a:gd name="T104" fmla="*/ 257 w 14438"/>
              <a:gd name="T105" fmla="*/ 14157 h 14438"/>
              <a:gd name="T106" fmla="*/ 132 w 14438"/>
              <a:gd name="T107" fmla="*/ 13987 h 14438"/>
              <a:gd name="T108" fmla="*/ 48 w 14438"/>
              <a:gd name="T109" fmla="*/ 13788 h 1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8" h="14438">
                <a:moveTo>
                  <a:pt x="0" y="13628"/>
                </a:moveTo>
                <a:lnTo>
                  <a:pt x="0" y="818"/>
                </a:lnTo>
                <a:lnTo>
                  <a:pt x="19" y="766"/>
                </a:lnTo>
                <a:lnTo>
                  <a:pt x="28" y="740"/>
                </a:lnTo>
                <a:lnTo>
                  <a:pt x="32" y="726"/>
                </a:lnTo>
                <a:lnTo>
                  <a:pt x="35" y="713"/>
                </a:lnTo>
                <a:lnTo>
                  <a:pt x="52" y="651"/>
                </a:lnTo>
                <a:lnTo>
                  <a:pt x="72" y="591"/>
                </a:lnTo>
                <a:lnTo>
                  <a:pt x="95" y="535"/>
                </a:lnTo>
                <a:lnTo>
                  <a:pt x="122" y="481"/>
                </a:lnTo>
                <a:lnTo>
                  <a:pt x="150" y="430"/>
                </a:lnTo>
                <a:lnTo>
                  <a:pt x="182" y="382"/>
                </a:lnTo>
                <a:lnTo>
                  <a:pt x="217" y="336"/>
                </a:lnTo>
                <a:lnTo>
                  <a:pt x="255" y="293"/>
                </a:lnTo>
                <a:lnTo>
                  <a:pt x="295" y="253"/>
                </a:lnTo>
                <a:lnTo>
                  <a:pt x="339" y="216"/>
                </a:lnTo>
                <a:lnTo>
                  <a:pt x="385" y="181"/>
                </a:lnTo>
                <a:lnTo>
                  <a:pt x="434" y="149"/>
                </a:lnTo>
                <a:lnTo>
                  <a:pt x="486" y="120"/>
                </a:lnTo>
                <a:lnTo>
                  <a:pt x="541" y="93"/>
                </a:lnTo>
                <a:lnTo>
                  <a:pt x="598" y="69"/>
                </a:lnTo>
                <a:lnTo>
                  <a:pt x="659" y="48"/>
                </a:lnTo>
                <a:lnTo>
                  <a:pt x="818" y="0"/>
                </a:lnTo>
                <a:lnTo>
                  <a:pt x="13628" y="0"/>
                </a:lnTo>
                <a:lnTo>
                  <a:pt x="13659" y="16"/>
                </a:lnTo>
                <a:lnTo>
                  <a:pt x="13667" y="20"/>
                </a:lnTo>
                <a:lnTo>
                  <a:pt x="13675" y="24"/>
                </a:lnTo>
                <a:lnTo>
                  <a:pt x="13684" y="27"/>
                </a:lnTo>
                <a:lnTo>
                  <a:pt x="13692" y="29"/>
                </a:lnTo>
                <a:lnTo>
                  <a:pt x="13780" y="53"/>
                </a:lnTo>
                <a:lnTo>
                  <a:pt x="13862" y="81"/>
                </a:lnTo>
                <a:lnTo>
                  <a:pt x="13939" y="115"/>
                </a:lnTo>
                <a:lnTo>
                  <a:pt x="14011" y="154"/>
                </a:lnTo>
                <a:lnTo>
                  <a:pt x="14078" y="197"/>
                </a:lnTo>
                <a:lnTo>
                  <a:pt x="14139" y="245"/>
                </a:lnTo>
                <a:lnTo>
                  <a:pt x="14194" y="297"/>
                </a:lnTo>
                <a:lnTo>
                  <a:pt x="14245" y="355"/>
                </a:lnTo>
                <a:lnTo>
                  <a:pt x="14289" y="416"/>
                </a:lnTo>
                <a:lnTo>
                  <a:pt x="14328" y="482"/>
                </a:lnTo>
                <a:lnTo>
                  <a:pt x="14361" y="553"/>
                </a:lnTo>
                <a:lnTo>
                  <a:pt x="14388" y="627"/>
                </a:lnTo>
                <a:lnTo>
                  <a:pt x="14409" y="706"/>
                </a:lnTo>
                <a:lnTo>
                  <a:pt x="14425" y="788"/>
                </a:lnTo>
                <a:lnTo>
                  <a:pt x="14434" y="875"/>
                </a:lnTo>
                <a:lnTo>
                  <a:pt x="14437" y="966"/>
                </a:lnTo>
                <a:lnTo>
                  <a:pt x="14437" y="13462"/>
                </a:lnTo>
                <a:lnTo>
                  <a:pt x="14433" y="13571"/>
                </a:lnTo>
                <a:lnTo>
                  <a:pt x="14420" y="13674"/>
                </a:lnTo>
                <a:lnTo>
                  <a:pt x="14398" y="13772"/>
                </a:lnTo>
                <a:lnTo>
                  <a:pt x="14369" y="13864"/>
                </a:lnTo>
                <a:lnTo>
                  <a:pt x="14331" y="13951"/>
                </a:lnTo>
                <a:lnTo>
                  <a:pt x="14286" y="14031"/>
                </a:lnTo>
                <a:lnTo>
                  <a:pt x="14234" y="14105"/>
                </a:lnTo>
                <a:lnTo>
                  <a:pt x="14175" y="14172"/>
                </a:lnTo>
                <a:lnTo>
                  <a:pt x="14108" y="14232"/>
                </a:lnTo>
                <a:lnTo>
                  <a:pt x="14035" y="14284"/>
                </a:lnTo>
                <a:lnTo>
                  <a:pt x="13956" y="14330"/>
                </a:lnTo>
                <a:lnTo>
                  <a:pt x="13870" y="14368"/>
                </a:lnTo>
                <a:lnTo>
                  <a:pt x="13779" y="14397"/>
                </a:lnTo>
                <a:lnTo>
                  <a:pt x="13681" y="14419"/>
                </a:lnTo>
                <a:lnTo>
                  <a:pt x="13579" y="14432"/>
                </a:lnTo>
                <a:lnTo>
                  <a:pt x="13471" y="14437"/>
                </a:lnTo>
                <a:lnTo>
                  <a:pt x="10100" y="14436"/>
                </a:lnTo>
                <a:lnTo>
                  <a:pt x="10063" y="14435"/>
                </a:lnTo>
                <a:lnTo>
                  <a:pt x="10026" y="14434"/>
                </a:lnTo>
                <a:lnTo>
                  <a:pt x="9952" y="14430"/>
                </a:lnTo>
                <a:lnTo>
                  <a:pt x="9952" y="9038"/>
                </a:lnTo>
                <a:lnTo>
                  <a:pt x="10115" y="9038"/>
                </a:lnTo>
                <a:lnTo>
                  <a:pt x="11610" y="9040"/>
                </a:lnTo>
                <a:lnTo>
                  <a:pt x="11646" y="9039"/>
                </a:lnTo>
                <a:lnTo>
                  <a:pt x="11661" y="9038"/>
                </a:lnTo>
                <a:lnTo>
                  <a:pt x="11676" y="9035"/>
                </a:lnTo>
                <a:lnTo>
                  <a:pt x="11690" y="9032"/>
                </a:lnTo>
                <a:lnTo>
                  <a:pt x="11702" y="9027"/>
                </a:lnTo>
                <a:lnTo>
                  <a:pt x="11714" y="9022"/>
                </a:lnTo>
                <a:lnTo>
                  <a:pt x="11724" y="9015"/>
                </a:lnTo>
                <a:lnTo>
                  <a:pt x="11734" y="9007"/>
                </a:lnTo>
                <a:lnTo>
                  <a:pt x="11742" y="8998"/>
                </a:lnTo>
                <a:lnTo>
                  <a:pt x="11750" y="8987"/>
                </a:lnTo>
                <a:lnTo>
                  <a:pt x="11757" y="8975"/>
                </a:lnTo>
                <a:lnTo>
                  <a:pt x="11764" y="8961"/>
                </a:lnTo>
                <a:lnTo>
                  <a:pt x="11769" y="8945"/>
                </a:lnTo>
                <a:lnTo>
                  <a:pt x="11774" y="8927"/>
                </a:lnTo>
                <a:lnTo>
                  <a:pt x="11778" y="8907"/>
                </a:lnTo>
                <a:lnTo>
                  <a:pt x="12106" y="7266"/>
                </a:lnTo>
                <a:lnTo>
                  <a:pt x="12201" y="6760"/>
                </a:lnTo>
                <a:lnTo>
                  <a:pt x="9941" y="6760"/>
                </a:lnTo>
                <a:lnTo>
                  <a:pt x="9944" y="5817"/>
                </a:lnTo>
                <a:lnTo>
                  <a:pt x="9950" y="5719"/>
                </a:lnTo>
                <a:lnTo>
                  <a:pt x="9960" y="5621"/>
                </a:lnTo>
                <a:lnTo>
                  <a:pt x="9976" y="5523"/>
                </a:lnTo>
                <a:lnTo>
                  <a:pt x="9994" y="5427"/>
                </a:lnTo>
                <a:lnTo>
                  <a:pt x="10017" y="5333"/>
                </a:lnTo>
                <a:lnTo>
                  <a:pt x="10046" y="5244"/>
                </a:lnTo>
                <a:lnTo>
                  <a:pt x="10080" y="5159"/>
                </a:lnTo>
                <a:lnTo>
                  <a:pt x="10120" y="5080"/>
                </a:lnTo>
                <a:lnTo>
                  <a:pt x="10166" y="5005"/>
                </a:lnTo>
                <a:lnTo>
                  <a:pt x="10216" y="4936"/>
                </a:lnTo>
                <a:lnTo>
                  <a:pt x="10272" y="4871"/>
                </a:lnTo>
                <a:lnTo>
                  <a:pt x="10332" y="4812"/>
                </a:lnTo>
                <a:lnTo>
                  <a:pt x="10398" y="4759"/>
                </a:lnTo>
                <a:lnTo>
                  <a:pt x="10468" y="4711"/>
                </a:lnTo>
                <a:lnTo>
                  <a:pt x="10542" y="4669"/>
                </a:lnTo>
                <a:lnTo>
                  <a:pt x="10621" y="4633"/>
                </a:lnTo>
                <a:lnTo>
                  <a:pt x="10705" y="4604"/>
                </a:lnTo>
                <a:lnTo>
                  <a:pt x="10792" y="4580"/>
                </a:lnTo>
                <a:lnTo>
                  <a:pt x="10884" y="4563"/>
                </a:lnTo>
                <a:lnTo>
                  <a:pt x="10979" y="4553"/>
                </a:lnTo>
                <a:lnTo>
                  <a:pt x="11222" y="4539"/>
                </a:lnTo>
                <a:lnTo>
                  <a:pt x="11465" y="4532"/>
                </a:lnTo>
                <a:lnTo>
                  <a:pt x="11951" y="4524"/>
                </a:lnTo>
                <a:lnTo>
                  <a:pt x="12187" y="4524"/>
                </a:lnTo>
                <a:lnTo>
                  <a:pt x="12187" y="2254"/>
                </a:lnTo>
                <a:lnTo>
                  <a:pt x="12121" y="2250"/>
                </a:lnTo>
                <a:lnTo>
                  <a:pt x="12092" y="2249"/>
                </a:lnTo>
                <a:lnTo>
                  <a:pt x="12064" y="2248"/>
                </a:lnTo>
                <a:lnTo>
                  <a:pt x="10259" y="2251"/>
                </a:lnTo>
                <a:lnTo>
                  <a:pt x="10017" y="2266"/>
                </a:lnTo>
                <a:lnTo>
                  <a:pt x="9783" y="2301"/>
                </a:lnTo>
                <a:lnTo>
                  <a:pt x="9557" y="2358"/>
                </a:lnTo>
                <a:lnTo>
                  <a:pt x="9339" y="2435"/>
                </a:lnTo>
                <a:lnTo>
                  <a:pt x="9130" y="2533"/>
                </a:lnTo>
                <a:lnTo>
                  <a:pt x="8930" y="2653"/>
                </a:lnTo>
                <a:lnTo>
                  <a:pt x="8740" y="2794"/>
                </a:lnTo>
                <a:lnTo>
                  <a:pt x="8559" y="2958"/>
                </a:lnTo>
                <a:lnTo>
                  <a:pt x="8449" y="3073"/>
                </a:lnTo>
                <a:lnTo>
                  <a:pt x="8348" y="3193"/>
                </a:lnTo>
                <a:lnTo>
                  <a:pt x="8254" y="3315"/>
                </a:lnTo>
                <a:lnTo>
                  <a:pt x="8169" y="3441"/>
                </a:lnTo>
                <a:lnTo>
                  <a:pt x="8091" y="3570"/>
                </a:lnTo>
                <a:lnTo>
                  <a:pt x="8021" y="3703"/>
                </a:lnTo>
                <a:lnTo>
                  <a:pt x="7901" y="3976"/>
                </a:lnTo>
                <a:lnTo>
                  <a:pt x="7808" y="4259"/>
                </a:lnTo>
                <a:lnTo>
                  <a:pt x="7740" y="4553"/>
                </a:lnTo>
                <a:lnTo>
                  <a:pt x="7695" y="4854"/>
                </a:lnTo>
                <a:lnTo>
                  <a:pt x="7670" y="5164"/>
                </a:lnTo>
                <a:lnTo>
                  <a:pt x="7660" y="5523"/>
                </a:lnTo>
                <a:lnTo>
                  <a:pt x="7660" y="5883"/>
                </a:lnTo>
                <a:lnTo>
                  <a:pt x="7665" y="6603"/>
                </a:lnTo>
                <a:lnTo>
                  <a:pt x="7665" y="6766"/>
                </a:lnTo>
                <a:lnTo>
                  <a:pt x="5871" y="6766"/>
                </a:lnTo>
                <a:lnTo>
                  <a:pt x="5871" y="9041"/>
                </a:lnTo>
                <a:lnTo>
                  <a:pt x="7656" y="9041"/>
                </a:lnTo>
                <a:lnTo>
                  <a:pt x="7656" y="14428"/>
                </a:lnTo>
                <a:lnTo>
                  <a:pt x="7616" y="14433"/>
                </a:lnTo>
                <a:lnTo>
                  <a:pt x="7598" y="14435"/>
                </a:lnTo>
                <a:lnTo>
                  <a:pt x="7590" y="14436"/>
                </a:lnTo>
                <a:lnTo>
                  <a:pt x="7581" y="14436"/>
                </a:lnTo>
                <a:lnTo>
                  <a:pt x="895" y="14434"/>
                </a:lnTo>
                <a:lnTo>
                  <a:pt x="820" y="14431"/>
                </a:lnTo>
                <a:lnTo>
                  <a:pt x="748" y="14422"/>
                </a:lnTo>
                <a:lnTo>
                  <a:pt x="677" y="14407"/>
                </a:lnTo>
                <a:lnTo>
                  <a:pt x="608" y="14386"/>
                </a:lnTo>
                <a:lnTo>
                  <a:pt x="542" y="14360"/>
                </a:lnTo>
                <a:lnTo>
                  <a:pt x="479" y="14328"/>
                </a:lnTo>
                <a:lnTo>
                  <a:pt x="418" y="14292"/>
                </a:lnTo>
                <a:lnTo>
                  <a:pt x="361" y="14252"/>
                </a:lnTo>
                <a:lnTo>
                  <a:pt x="307" y="14207"/>
                </a:lnTo>
                <a:lnTo>
                  <a:pt x="257" y="14157"/>
                </a:lnTo>
                <a:lnTo>
                  <a:pt x="211" y="14104"/>
                </a:lnTo>
                <a:lnTo>
                  <a:pt x="169" y="14047"/>
                </a:lnTo>
                <a:lnTo>
                  <a:pt x="132" y="13987"/>
                </a:lnTo>
                <a:lnTo>
                  <a:pt x="99" y="13923"/>
                </a:lnTo>
                <a:lnTo>
                  <a:pt x="71" y="13857"/>
                </a:lnTo>
                <a:lnTo>
                  <a:pt x="48" y="13788"/>
                </a:lnTo>
                <a:lnTo>
                  <a:pt x="0" y="13628"/>
                </a:lnTo>
              </a:path>
            </a:pathLst>
          </a:custGeom>
          <a:solidFill>
            <a:schemeClr val="accent1"/>
          </a:solidFill>
          <a:ln>
            <a:noFill/>
          </a:ln>
          <a:effectLst/>
        </p:spPr>
        <p:txBody>
          <a:bodyPr wrap="none" anchor="ctr"/>
          <a:lstStyle/>
          <a:p>
            <a:endParaRPr lang="de-DE" dirty="0">
              <a:solidFill>
                <a:srgbClr val="123563"/>
              </a:solidFill>
              <a:latin typeface="BISansOpti"/>
            </a:endParaRPr>
          </a:p>
        </p:txBody>
      </p:sp>
      <p:sp>
        <p:nvSpPr>
          <p:cNvPr id="14" name="Freeform 2"/>
          <p:cNvSpPr>
            <a:spLocks noChangeAspect="1" noChangeArrowheads="1"/>
          </p:cNvSpPr>
          <p:nvPr userDrawn="1"/>
        </p:nvSpPr>
        <p:spPr bwMode="auto">
          <a:xfrm>
            <a:off x="1020233" y="1260552"/>
            <a:ext cx="396000" cy="323404"/>
          </a:xfrm>
          <a:custGeom>
            <a:avLst/>
            <a:gdLst>
              <a:gd name="T0" fmla="*/ 2302 w 14384"/>
              <a:gd name="T1" fmla="*/ 10229 h 11746"/>
              <a:gd name="T2" fmla="*/ 4222 w 14384"/>
              <a:gd name="T3" fmla="*/ 9176 h 11746"/>
              <a:gd name="T4" fmla="*/ 3544 w 14384"/>
              <a:gd name="T5" fmla="*/ 9052 h 11746"/>
              <a:gd name="T6" fmla="*/ 2627 w 14384"/>
              <a:gd name="T7" fmla="*/ 8581 h 11746"/>
              <a:gd name="T8" fmla="*/ 2100 w 14384"/>
              <a:gd name="T9" fmla="*/ 8065 h 11746"/>
              <a:gd name="T10" fmla="*/ 1633 w 14384"/>
              <a:gd name="T11" fmla="*/ 7227 h 11746"/>
              <a:gd name="T12" fmla="*/ 1622 w 14384"/>
              <a:gd name="T13" fmla="*/ 7169 h 11746"/>
              <a:gd name="T14" fmla="*/ 1631 w 14384"/>
              <a:gd name="T15" fmla="*/ 7150 h 11746"/>
              <a:gd name="T16" fmla="*/ 1654 w 14384"/>
              <a:gd name="T17" fmla="*/ 7142 h 11746"/>
              <a:gd name="T18" fmla="*/ 1884 w 14384"/>
              <a:gd name="T19" fmla="*/ 7165 h 11746"/>
              <a:gd name="T20" fmla="*/ 2540 w 14384"/>
              <a:gd name="T21" fmla="*/ 7153 h 11746"/>
              <a:gd name="T22" fmla="*/ 2848 w 14384"/>
              <a:gd name="T23" fmla="*/ 7095 h 11746"/>
              <a:gd name="T24" fmla="*/ 1895 w 14384"/>
              <a:gd name="T25" fmla="*/ 6602 h 11746"/>
              <a:gd name="T26" fmla="*/ 974 w 14384"/>
              <a:gd name="T27" fmla="*/ 5689 h 11746"/>
              <a:gd name="T28" fmla="*/ 567 w 14384"/>
              <a:gd name="T29" fmla="*/ 4595 h 11746"/>
              <a:gd name="T30" fmla="*/ 1040 w 14384"/>
              <a:gd name="T31" fmla="*/ 4344 h 11746"/>
              <a:gd name="T32" fmla="*/ 1878 w 14384"/>
              <a:gd name="T33" fmla="*/ 4497 h 11746"/>
              <a:gd name="T34" fmla="*/ 1298 w 14384"/>
              <a:gd name="T35" fmla="*/ 3967 h 11746"/>
              <a:gd name="T36" fmla="*/ 726 w 14384"/>
              <a:gd name="T37" fmla="*/ 2940 h 11746"/>
              <a:gd name="T38" fmla="*/ 592 w 14384"/>
              <a:gd name="T39" fmla="*/ 1831 h 11746"/>
              <a:gd name="T40" fmla="*/ 824 w 14384"/>
              <a:gd name="T41" fmla="*/ 868 h 11746"/>
              <a:gd name="T42" fmla="*/ 964 w 14384"/>
              <a:gd name="T43" fmla="*/ 589 h 11746"/>
              <a:gd name="T44" fmla="*/ 983 w 14384"/>
              <a:gd name="T45" fmla="*/ 577 h 11746"/>
              <a:gd name="T46" fmla="*/ 1005 w 14384"/>
              <a:gd name="T47" fmla="*/ 584 h 11746"/>
              <a:gd name="T48" fmla="*/ 1596 w 14384"/>
              <a:gd name="T49" fmla="*/ 1214 h 11746"/>
              <a:gd name="T50" fmla="*/ 4660 w 14384"/>
              <a:gd name="T51" fmla="*/ 3154 h 11746"/>
              <a:gd name="T52" fmla="*/ 6964 w 14384"/>
              <a:gd name="T53" fmla="*/ 3640 h 11746"/>
              <a:gd name="T54" fmla="*/ 7045 w 14384"/>
              <a:gd name="T55" fmla="*/ 3637 h 11746"/>
              <a:gd name="T56" fmla="*/ 7063 w 14384"/>
              <a:gd name="T57" fmla="*/ 3624 h 11746"/>
              <a:gd name="T58" fmla="*/ 7074 w 14384"/>
              <a:gd name="T59" fmla="*/ 3590 h 11746"/>
              <a:gd name="T60" fmla="*/ 7020 w 14384"/>
              <a:gd name="T61" fmla="*/ 2949 h 11746"/>
              <a:gd name="T62" fmla="*/ 7333 w 14384"/>
              <a:gd name="T63" fmla="*/ 1628 h 11746"/>
              <a:gd name="T64" fmla="*/ 8184 w 14384"/>
              <a:gd name="T65" fmla="*/ 606 h 11746"/>
              <a:gd name="T66" fmla="*/ 9383 w 14384"/>
              <a:gd name="T67" fmla="*/ 70 h 11746"/>
              <a:gd name="T68" fmla="*/ 10325 w 14384"/>
              <a:gd name="T69" fmla="*/ 15 h 11746"/>
              <a:gd name="T70" fmla="*/ 11198 w 14384"/>
              <a:gd name="T71" fmla="*/ 263 h 11746"/>
              <a:gd name="T72" fmla="*/ 11995 w 14384"/>
              <a:gd name="T73" fmla="*/ 807 h 11746"/>
              <a:gd name="T74" fmla="*/ 12123 w 14384"/>
              <a:gd name="T75" fmla="*/ 892 h 11746"/>
              <a:gd name="T76" fmla="*/ 12231 w 14384"/>
              <a:gd name="T77" fmla="*/ 915 h 11746"/>
              <a:gd name="T78" fmla="*/ 12744 w 14384"/>
              <a:gd name="T79" fmla="*/ 787 h 11746"/>
              <a:gd name="T80" fmla="*/ 13860 w 14384"/>
              <a:gd name="T81" fmla="*/ 315 h 11746"/>
              <a:gd name="T82" fmla="*/ 13966 w 14384"/>
              <a:gd name="T83" fmla="*/ 263 h 11746"/>
              <a:gd name="T84" fmla="*/ 13995 w 14384"/>
              <a:gd name="T85" fmla="*/ 269 h 11746"/>
              <a:gd name="T86" fmla="*/ 13527 w 14384"/>
              <a:gd name="T87" fmla="*/ 1148 h 11746"/>
              <a:gd name="T88" fmla="*/ 12830 w 14384"/>
              <a:gd name="T89" fmla="*/ 1838 h 11746"/>
              <a:gd name="T90" fmla="*/ 13292 w 14384"/>
              <a:gd name="T91" fmla="*/ 1763 h 11746"/>
              <a:gd name="T92" fmla="*/ 13785 w 14384"/>
              <a:gd name="T93" fmla="*/ 1631 h 11746"/>
              <a:gd name="T94" fmla="*/ 14219 w 14384"/>
              <a:gd name="T95" fmla="*/ 1479 h 11746"/>
              <a:gd name="T96" fmla="*/ 14275 w 14384"/>
              <a:gd name="T97" fmla="*/ 1604 h 11746"/>
              <a:gd name="T98" fmla="*/ 13501 w 14384"/>
              <a:gd name="T99" fmla="*/ 2473 h 11746"/>
              <a:gd name="T100" fmla="*/ 13009 w 14384"/>
              <a:gd name="T101" fmla="*/ 2877 h 11746"/>
              <a:gd name="T102" fmla="*/ 12970 w 14384"/>
              <a:gd name="T103" fmla="*/ 2930 h 11746"/>
              <a:gd name="T104" fmla="*/ 12953 w 14384"/>
              <a:gd name="T105" fmla="*/ 2990 h 11746"/>
              <a:gd name="T106" fmla="*/ 12687 w 14384"/>
              <a:gd name="T107" fmla="*/ 5388 h 11746"/>
              <a:gd name="T108" fmla="*/ 10923 w 14384"/>
              <a:gd name="T109" fmla="*/ 8821 h 11746"/>
              <a:gd name="T110" fmla="*/ 8211 w 14384"/>
              <a:gd name="T111" fmla="*/ 10949 h 11746"/>
              <a:gd name="T112" fmla="*/ 4606 w 14384"/>
              <a:gd name="T113" fmla="*/ 11745 h 11746"/>
              <a:gd name="T114" fmla="*/ 819 w 14384"/>
              <a:gd name="T115" fmla="*/ 10882 h 1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4" h="11746">
                <a:moveTo>
                  <a:pt x="0" y="10417"/>
                </a:moveTo>
                <a:lnTo>
                  <a:pt x="600" y="10448"/>
                </a:lnTo>
                <a:lnTo>
                  <a:pt x="1183" y="10428"/>
                </a:lnTo>
                <a:lnTo>
                  <a:pt x="1751" y="10355"/>
                </a:lnTo>
                <a:lnTo>
                  <a:pt x="2302" y="10229"/>
                </a:lnTo>
                <a:lnTo>
                  <a:pt x="2839" y="10049"/>
                </a:lnTo>
                <a:lnTo>
                  <a:pt x="3362" y="9816"/>
                </a:lnTo>
                <a:lnTo>
                  <a:pt x="3872" y="9528"/>
                </a:lnTo>
                <a:lnTo>
                  <a:pt x="4370" y="9184"/>
                </a:lnTo>
                <a:lnTo>
                  <a:pt x="4222" y="9176"/>
                </a:lnTo>
                <a:lnTo>
                  <a:pt x="4079" y="9163"/>
                </a:lnTo>
                <a:lnTo>
                  <a:pt x="3940" y="9144"/>
                </a:lnTo>
                <a:lnTo>
                  <a:pt x="3805" y="9120"/>
                </a:lnTo>
                <a:lnTo>
                  <a:pt x="3674" y="9089"/>
                </a:lnTo>
                <a:lnTo>
                  <a:pt x="3544" y="9052"/>
                </a:lnTo>
                <a:lnTo>
                  <a:pt x="3418" y="9010"/>
                </a:lnTo>
                <a:lnTo>
                  <a:pt x="3293" y="8960"/>
                </a:lnTo>
                <a:lnTo>
                  <a:pt x="3010" y="8825"/>
                </a:lnTo>
                <a:lnTo>
                  <a:pt x="2749" y="8667"/>
                </a:lnTo>
                <a:lnTo>
                  <a:pt x="2627" y="8581"/>
                </a:lnTo>
                <a:lnTo>
                  <a:pt x="2511" y="8488"/>
                </a:lnTo>
                <a:lnTo>
                  <a:pt x="2400" y="8391"/>
                </a:lnTo>
                <a:lnTo>
                  <a:pt x="2294" y="8288"/>
                </a:lnTo>
                <a:lnTo>
                  <a:pt x="2195" y="8179"/>
                </a:lnTo>
                <a:lnTo>
                  <a:pt x="2100" y="8065"/>
                </a:lnTo>
                <a:lnTo>
                  <a:pt x="2012" y="7946"/>
                </a:lnTo>
                <a:lnTo>
                  <a:pt x="1928" y="7822"/>
                </a:lnTo>
                <a:lnTo>
                  <a:pt x="1778" y="7557"/>
                </a:lnTo>
                <a:lnTo>
                  <a:pt x="1650" y="7271"/>
                </a:lnTo>
                <a:lnTo>
                  <a:pt x="1633" y="7227"/>
                </a:lnTo>
                <a:lnTo>
                  <a:pt x="1628" y="7209"/>
                </a:lnTo>
                <a:lnTo>
                  <a:pt x="1624" y="7194"/>
                </a:lnTo>
                <a:lnTo>
                  <a:pt x="1622" y="7180"/>
                </a:lnTo>
                <a:lnTo>
                  <a:pt x="1621" y="7175"/>
                </a:lnTo>
                <a:lnTo>
                  <a:pt x="1622" y="7169"/>
                </a:lnTo>
                <a:lnTo>
                  <a:pt x="1622" y="7164"/>
                </a:lnTo>
                <a:lnTo>
                  <a:pt x="1624" y="7160"/>
                </a:lnTo>
                <a:lnTo>
                  <a:pt x="1625" y="7156"/>
                </a:lnTo>
                <a:lnTo>
                  <a:pt x="1628" y="7153"/>
                </a:lnTo>
                <a:lnTo>
                  <a:pt x="1631" y="7150"/>
                </a:lnTo>
                <a:lnTo>
                  <a:pt x="1634" y="7148"/>
                </a:lnTo>
                <a:lnTo>
                  <a:pt x="1638" y="7146"/>
                </a:lnTo>
                <a:lnTo>
                  <a:pt x="1643" y="7144"/>
                </a:lnTo>
                <a:lnTo>
                  <a:pt x="1648" y="7143"/>
                </a:lnTo>
                <a:lnTo>
                  <a:pt x="1654" y="7142"/>
                </a:lnTo>
                <a:lnTo>
                  <a:pt x="1668" y="7141"/>
                </a:lnTo>
                <a:lnTo>
                  <a:pt x="1685" y="7142"/>
                </a:lnTo>
                <a:lnTo>
                  <a:pt x="1704" y="7143"/>
                </a:lnTo>
                <a:lnTo>
                  <a:pt x="1752" y="7149"/>
                </a:lnTo>
                <a:lnTo>
                  <a:pt x="1884" y="7165"/>
                </a:lnTo>
                <a:lnTo>
                  <a:pt x="2015" y="7175"/>
                </a:lnTo>
                <a:lnTo>
                  <a:pt x="2147" y="7178"/>
                </a:lnTo>
                <a:lnTo>
                  <a:pt x="2278" y="7176"/>
                </a:lnTo>
                <a:lnTo>
                  <a:pt x="2409" y="7167"/>
                </a:lnTo>
                <a:lnTo>
                  <a:pt x="2540" y="7153"/>
                </a:lnTo>
                <a:lnTo>
                  <a:pt x="2671" y="7134"/>
                </a:lnTo>
                <a:lnTo>
                  <a:pt x="2802" y="7109"/>
                </a:lnTo>
                <a:lnTo>
                  <a:pt x="2813" y="7106"/>
                </a:lnTo>
                <a:lnTo>
                  <a:pt x="2825" y="7103"/>
                </a:lnTo>
                <a:lnTo>
                  <a:pt x="2848" y="7095"/>
                </a:lnTo>
                <a:lnTo>
                  <a:pt x="2900" y="7074"/>
                </a:lnTo>
                <a:lnTo>
                  <a:pt x="2631" y="6984"/>
                </a:lnTo>
                <a:lnTo>
                  <a:pt x="2373" y="6874"/>
                </a:lnTo>
                <a:lnTo>
                  <a:pt x="2128" y="6747"/>
                </a:lnTo>
                <a:lnTo>
                  <a:pt x="1895" y="6602"/>
                </a:lnTo>
                <a:lnTo>
                  <a:pt x="1677" y="6443"/>
                </a:lnTo>
                <a:lnTo>
                  <a:pt x="1475" y="6271"/>
                </a:lnTo>
                <a:lnTo>
                  <a:pt x="1289" y="6087"/>
                </a:lnTo>
                <a:lnTo>
                  <a:pt x="1122" y="5892"/>
                </a:lnTo>
                <a:lnTo>
                  <a:pt x="974" y="5689"/>
                </a:lnTo>
                <a:lnTo>
                  <a:pt x="846" y="5479"/>
                </a:lnTo>
                <a:lnTo>
                  <a:pt x="741" y="5262"/>
                </a:lnTo>
                <a:lnTo>
                  <a:pt x="658" y="5042"/>
                </a:lnTo>
                <a:lnTo>
                  <a:pt x="600" y="4819"/>
                </a:lnTo>
                <a:lnTo>
                  <a:pt x="567" y="4595"/>
                </a:lnTo>
                <a:lnTo>
                  <a:pt x="560" y="4372"/>
                </a:lnTo>
                <a:lnTo>
                  <a:pt x="582" y="4151"/>
                </a:lnTo>
                <a:lnTo>
                  <a:pt x="733" y="4222"/>
                </a:lnTo>
                <a:lnTo>
                  <a:pt x="885" y="4286"/>
                </a:lnTo>
                <a:lnTo>
                  <a:pt x="1040" y="4344"/>
                </a:lnTo>
                <a:lnTo>
                  <a:pt x="1199" y="4394"/>
                </a:lnTo>
                <a:lnTo>
                  <a:pt x="1361" y="4435"/>
                </a:lnTo>
                <a:lnTo>
                  <a:pt x="1528" y="4466"/>
                </a:lnTo>
                <a:lnTo>
                  <a:pt x="1700" y="4487"/>
                </a:lnTo>
                <a:lnTo>
                  <a:pt x="1878" y="4497"/>
                </a:lnTo>
                <a:lnTo>
                  <a:pt x="1717" y="4366"/>
                </a:lnTo>
                <a:lnTo>
                  <a:pt x="1566" y="4238"/>
                </a:lnTo>
                <a:lnTo>
                  <a:pt x="1426" y="4106"/>
                </a:lnTo>
                <a:lnTo>
                  <a:pt x="1361" y="4038"/>
                </a:lnTo>
                <a:lnTo>
                  <a:pt x="1298" y="3967"/>
                </a:lnTo>
                <a:lnTo>
                  <a:pt x="1149" y="3775"/>
                </a:lnTo>
                <a:lnTo>
                  <a:pt x="1017" y="3577"/>
                </a:lnTo>
                <a:lnTo>
                  <a:pt x="903" y="3371"/>
                </a:lnTo>
                <a:lnTo>
                  <a:pt x="806" y="3159"/>
                </a:lnTo>
                <a:lnTo>
                  <a:pt x="726" y="2940"/>
                </a:lnTo>
                <a:lnTo>
                  <a:pt x="664" y="2713"/>
                </a:lnTo>
                <a:lnTo>
                  <a:pt x="620" y="2479"/>
                </a:lnTo>
                <a:lnTo>
                  <a:pt x="594" y="2237"/>
                </a:lnTo>
                <a:lnTo>
                  <a:pt x="586" y="2032"/>
                </a:lnTo>
                <a:lnTo>
                  <a:pt x="592" y="1831"/>
                </a:lnTo>
                <a:lnTo>
                  <a:pt x="612" y="1633"/>
                </a:lnTo>
                <a:lnTo>
                  <a:pt x="645" y="1438"/>
                </a:lnTo>
                <a:lnTo>
                  <a:pt x="692" y="1245"/>
                </a:lnTo>
                <a:lnTo>
                  <a:pt x="752" y="1056"/>
                </a:lnTo>
                <a:lnTo>
                  <a:pt x="824" y="868"/>
                </a:lnTo>
                <a:lnTo>
                  <a:pt x="910" y="684"/>
                </a:lnTo>
                <a:lnTo>
                  <a:pt x="933" y="638"/>
                </a:lnTo>
                <a:lnTo>
                  <a:pt x="952" y="606"/>
                </a:lnTo>
                <a:lnTo>
                  <a:pt x="960" y="594"/>
                </a:lnTo>
                <a:lnTo>
                  <a:pt x="964" y="589"/>
                </a:lnTo>
                <a:lnTo>
                  <a:pt x="968" y="585"/>
                </a:lnTo>
                <a:lnTo>
                  <a:pt x="972" y="582"/>
                </a:lnTo>
                <a:lnTo>
                  <a:pt x="976" y="580"/>
                </a:lnTo>
                <a:lnTo>
                  <a:pt x="980" y="578"/>
                </a:lnTo>
                <a:lnTo>
                  <a:pt x="983" y="577"/>
                </a:lnTo>
                <a:lnTo>
                  <a:pt x="987" y="577"/>
                </a:lnTo>
                <a:lnTo>
                  <a:pt x="992" y="578"/>
                </a:lnTo>
                <a:lnTo>
                  <a:pt x="996" y="579"/>
                </a:lnTo>
                <a:lnTo>
                  <a:pt x="1000" y="581"/>
                </a:lnTo>
                <a:lnTo>
                  <a:pt x="1005" y="584"/>
                </a:lnTo>
                <a:lnTo>
                  <a:pt x="1010" y="587"/>
                </a:lnTo>
                <a:lnTo>
                  <a:pt x="1020" y="596"/>
                </a:lnTo>
                <a:lnTo>
                  <a:pt x="1045" y="623"/>
                </a:lnTo>
                <a:lnTo>
                  <a:pt x="1078" y="660"/>
                </a:lnTo>
                <a:lnTo>
                  <a:pt x="1596" y="1214"/>
                </a:lnTo>
                <a:lnTo>
                  <a:pt x="2145" y="1714"/>
                </a:lnTo>
                <a:lnTo>
                  <a:pt x="2726" y="2158"/>
                </a:lnTo>
                <a:lnTo>
                  <a:pt x="3338" y="2546"/>
                </a:lnTo>
                <a:lnTo>
                  <a:pt x="3983" y="2878"/>
                </a:lnTo>
                <a:lnTo>
                  <a:pt x="4660" y="3154"/>
                </a:lnTo>
                <a:lnTo>
                  <a:pt x="5369" y="3373"/>
                </a:lnTo>
                <a:lnTo>
                  <a:pt x="6112" y="3535"/>
                </a:lnTo>
                <a:lnTo>
                  <a:pt x="6324" y="3567"/>
                </a:lnTo>
                <a:lnTo>
                  <a:pt x="6537" y="3593"/>
                </a:lnTo>
                <a:lnTo>
                  <a:pt x="6964" y="3640"/>
                </a:lnTo>
                <a:lnTo>
                  <a:pt x="6997" y="3643"/>
                </a:lnTo>
                <a:lnTo>
                  <a:pt x="7011" y="3643"/>
                </a:lnTo>
                <a:lnTo>
                  <a:pt x="7024" y="3642"/>
                </a:lnTo>
                <a:lnTo>
                  <a:pt x="7035" y="3640"/>
                </a:lnTo>
                <a:lnTo>
                  <a:pt x="7045" y="3637"/>
                </a:lnTo>
                <a:lnTo>
                  <a:pt x="7049" y="3635"/>
                </a:lnTo>
                <a:lnTo>
                  <a:pt x="7053" y="3633"/>
                </a:lnTo>
                <a:lnTo>
                  <a:pt x="7057" y="3631"/>
                </a:lnTo>
                <a:lnTo>
                  <a:pt x="7060" y="3628"/>
                </a:lnTo>
                <a:lnTo>
                  <a:pt x="7063" y="3624"/>
                </a:lnTo>
                <a:lnTo>
                  <a:pt x="7066" y="3621"/>
                </a:lnTo>
                <a:lnTo>
                  <a:pt x="7068" y="3617"/>
                </a:lnTo>
                <a:lnTo>
                  <a:pt x="7070" y="3612"/>
                </a:lnTo>
                <a:lnTo>
                  <a:pt x="7073" y="3602"/>
                </a:lnTo>
                <a:lnTo>
                  <a:pt x="7074" y="3590"/>
                </a:lnTo>
                <a:lnTo>
                  <a:pt x="7075" y="3576"/>
                </a:lnTo>
                <a:lnTo>
                  <a:pt x="7074" y="3560"/>
                </a:lnTo>
                <a:lnTo>
                  <a:pt x="7069" y="3523"/>
                </a:lnTo>
                <a:lnTo>
                  <a:pt x="7031" y="3234"/>
                </a:lnTo>
                <a:lnTo>
                  <a:pt x="7020" y="2949"/>
                </a:lnTo>
                <a:lnTo>
                  <a:pt x="7035" y="2669"/>
                </a:lnTo>
                <a:lnTo>
                  <a:pt x="7074" y="2395"/>
                </a:lnTo>
                <a:lnTo>
                  <a:pt x="7137" y="2130"/>
                </a:lnTo>
                <a:lnTo>
                  <a:pt x="7224" y="1873"/>
                </a:lnTo>
                <a:lnTo>
                  <a:pt x="7333" y="1628"/>
                </a:lnTo>
                <a:lnTo>
                  <a:pt x="7463" y="1394"/>
                </a:lnTo>
                <a:lnTo>
                  <a:pt x="7614" y="1174"/>
                </a:lnTo>
                <a:lnTo>
                  <a:pt x="7785" y="968"/>
                </a:lnTo>
                <a:lnTo>
                  <a:pt x="7976" y="778"/>
                </a:lnTo>
                <a:lnTo>
                  <a:pt x="8184" y="606"/>
                </a:lnTo>
                <a:lnTo>
                  <a:pt x="8410" y="452"/>
                </a:lnTo>
                <a:lnTo>
                  <a:pt x="8653" y="319"/>
                </a:lnTo>
                <a:lnTo>
                  <a:pt x="8912" y="207"/>
                </a:lnTo>
                <a:lnTo>
                  <a:pt x="9186" y="118"/>
                </a:lnTo>
                <a:lnTo>
                  <a:pt x="9383" y="70"/>
                </a:lnTo>
                <a:lnTo>
                  <a:pt x="9577" y="34"/>
                </a:lnTo>
                <a:lnTo>
                  <a:pt x="9768" y="11"/>
                </a:lnTo>
                <a:lnTo>
                  <a:pt x="9956" y="0"/>
                </a:lnTo>
                <a:lnTo>
                  <a:pt x="10142" y="1"/>
                </a:lnTo>
                <a:lnTo>
                  <a:pt x="10325" y="15"/>
                </a:lnTo>
                <a:lnTo>
                  <a:pt x="10506" y="40"/>
                </a:lnTo>
                <a:lnTo>
                  <a:pt x="10683" y="78"/>
                </a:lnTo>
                <a:lnTo>
                  <a:pt x="10858" y="128"/>
                </a:lnTo>
                <a:lnTo>
                  <a:pt x="11029" y="189"/>
                </a:lnTo>
                <a:lnTo>
                  <a:pt x="11198" y="263"/>
                </a:lnTo>
                <a:lnTo>
                  <a:pt x="11364" y="348"/>
                </a:lnTo>
                <a:lnTo>
                  <a:pt x="11526" y="445"/>
                </a:lnTo>
                <a:lnTo>
                  <a:pt x="11686" y="554"/>
                </a:lnTo>
                <a:lnTo>
                  <a:pt x="11842" y="675"/>
                </a:lnTo>
                <a:lnTo>
                  <a:pt x="11995" y="807"/>
                </a:lnTo>
                <a:lnTo>
                  <a:pt x="12039" y="843"/>
                </a:lnTo>
                <a:lnTo>
                  <a:pt x="12060" y="858"/>
                </a:lnTo>
                <a:lnTo>
                  <a:pt x="12081" y="871"/>
                </a:lnTo>
                <a:lnTo>
                  <a:pt x="12102" y="883"/>
                </a:lnTo>
                <a:lnTo>
                  <a:pt x="12123" y="892"/>
                </a:lnTo>
                <a:lnTo>
                  <a:pt x="12144" y="900"/>
                </a:lnTo>
                <a:lnTo>
                  <a:pt x="12165" y="906"/>
                </a:lnTo>
                <a:lnTo>
                  <a:pt x="12187" y="911"/>
                </a:lnTo>
                <a:lnTo>
                  <a:pt x="12209" y="914"/>
                </a:lnTo>
                <a:lnTo>
                  <a:pt x="12231" y="915"/>
                </a:lnTo>
                <a:lnTo>
                  <a:pt x="12254" y="914"/>
                </a:lnTo>
                <a:lnTo>
                  <a:pt x="12278" y="912"/>
                </a:lnTo>
                <a:lnTo>
                  <a:pt x="12302" y="909"/>
                </a:lnTo>
                <a:lnTo>
                  <a:pt x="12354" y="898"/>
                </a:lnTo>
                <a:lnTo>
                  <a:pt x="12744" y="787"/>
                </a:lnTo>
                <a:lnTo>
                  <a:pt x="13126" y="654"/>
                </a:lnTo>
                <a:lnTo>
                  <a:pt x="13313" y="579"/>
                </a:lnTo>
                <a:lnTo>
                  <a:pt x="13498" y="497"/>
                </a:lnTo>
                <a:lnTo>
                  <a:pt x="13680" y="409"/>
                </a:lnTo>
                <a:lnTo>
                  <a:pt x="13860" y="315"/>
                </a:lnTo>
                <a:lnTo>
                  <a:pt x="13960" y="264"/>
                </a:lnTo>
                <a:lnTo>
                  <a:pt x="13961" y="263"/>
                </a:lnTo>
                <a:lnTo>
                  <a:pt x="13963" y="263"/>
                </a:lnTo>
                <a:lnTo>
                  <a:pt x="13964" y="263"/>
                </a:lnTo>
                <a:lnTo>
                  <a:pt x="13966" y="263"/>
                </a:lnTo>
                <a:lnTo>
                  <a:pt x="13968" y="263"/>
                </a:lnTo>
                <a:lnTo>
                  <a:pt x="13970" y="264"/>
                </a:lnTo>
                <a:lnTo>
                  <a:pt x="13975" y="265"/>
                </a:lnTo>
                <a:lnTo>
                  <a:pt x="13987" y="268"/>
                </a:lnTo>
                <a:lnTo>
                  <a:pt x="13995" y="269"/>
                </a:lnTo>
                <a:lnTo>
                  <a:pt x="14004" y="271"/>
                </a:lnTo>
                <a:lnTo>
                  <a:pt x="13912" y="511"/>
                </a:lnTo>
                <a:lnTo>
                  <a:pt x="13801" y="736"/>
                </a:lnTo>
                <a:lnTo>
                  <a:pt x="13673" y="949"/>
                </a:lnTo>
                <a:lnTo>
                  <a:pt x="13527" y="1148"/>
                </a:lnTo>
                <a:lnTo>
                  <a:pt x="13363" y="1336"/>
                </a:lnTo>
                <a:lnTo>
                  <a:pt x="13182" y="1513"/>
                </a:lnTo>
                <a:lnTo>
                  <a:pt x="12984" y="1679"/>
                </a:lnTo>
                <a:lnTo>
                  <a:pt x="12768" y="1836"/>
                </a:lnTo>
                <a:lnTo>
                  <a:pt x="12830" y="1838"/>
                </a:lnTo>
                <a:lnTo>
                  <a:pt x="12888" y="1836"/>
                </a:lnTo>
                <a:lnTo>
                  <a:pt x="12943" y="1831"/>
                </a:lnTo>
                <a:lnTo>
                  <a:pt x="12996" y="1823"/>
                </a:lnTo>
                <a:lnTo>
                  <a:pt x="13192" y="1783"/>
                </a:lnTo>
                <a:lnTo>
                  <a:pt x="13292" y="1763"/>
                </a:lnTo>
                <a:lnTo>
                  <a:pt x="13392" y="1741"/>
                </a:lnTo>
                <a:lnTo>
                  <a:pt x="13491" y="1717"/>
                </a:lnTo>
                <a:lnTo>
                  <a:pt x="13590" y="1691"/>
                </a:lnTo>
                <a:lnTo>
                  <a:pt x="13688" y="1662"/>
                </a:lnTo>
                <a:lnTo>
                  <a:pt x="13785" y="1631"/>
                </a:lnTo>
                <a:lnTo>
                  <a:pt x="13979" y="1569"/>
                </a:lnTo>
                <a:lnTo>
                  <a:pt x="14026" y="1553"/>
                </a:lnTo>
                <a:lnTo>
                  <a:pt x="14073" y="1535"/>
                </a:lnTo>
                <a:lnTo>
                  <a:pt x="14169" y="1497"/>
                </a:lnTo>
                <a:lnTo>
                  <a:pt x="14219" y="1479"/>
                </a:lnTo>
                <a:lnTo>
                  <a:pt x="14271" y="1462"/>
                </a:lnTo>
                <a:lnTo>
                  <a:pt x="14325" y="1448"/>
                </a:lnTo>
                <a:lnTo>
                  <a:pt x="14383" y="1437"/>
                </a:lnTo>
                <a:lnTo>
                  <a:pt x="14329" y="1522"/>
                </a:lnTo>
                <a:lnTo>
                  <a:pt x="14275" y="1604"/>
                </a:lnTo>
                <a:lnTo>
                  <a:pt x="14161" y="1758"/>
                </a:lnTo>
                <a:lnTo>
                  <a:pt x="14044" y="1901"/>
                </a:lnTo>
                <a:lnTo>
                  <a:pt x="13924" y="2039"/>
                </a:lnTo>
                <a:lnTo>
                  <a:pt x="13717" y="2261"/>
                </a:lnTo>
                <a:lnTo>
                  <a:pt x="13501" y="2473"/>
                </a:lnTo>
                <a:lnTo>
                  <a:pt x="13274" y="2673"/>
                </a:lnTo>
                <a:lnTo>
                  <a:pt x="13155" y="2767"/>
                </a:lnTo>
                <a:lnTo>
                  <a:pt x="13033" y="2858"/>
                </a:lnTo>
                <a:lnTo>
                  <a:pt x="13020" y="2867"/>
                </a:lnTo>
                <a:lnTo>
                  <a:pt x="13009" y="2877"/>
                </a:lnTo>
                <a:lnTo>
                  <a:pt x="12999" y="2887"/>
                </a:lnTo>
                <a:lnTo>
                  <a:pt x="12990" y="2898"/>
                </a:lnTo>
                <a:lnTo>
                  <a:pt x="12982" y="2908"/>
                </a:lnTo>
                <a:lnTo>
                  <a:pt x="12975" y="2919"/>
                </a:lnTo>
                <a:lnTo>
                  <a:pt x="12970" y="2930"/>
                </a:lnTo>
                <a:lnTo>
                  <a:pt x="12965" y="2941"/>
                </a:lnTo>
                <a:lnTo>
                  <a:pt x="12961" y="2953"/>
                </a:lnTo>
                <a:lnTo>
                  <a:pt x="12957" y="2965"/>
                </a:lnTo>
                <a:lnTo>
                  <a:pt x="12955" y="2977"/>
                </a:lnTo>
                <a:lnTo>
                  <a:pt x="12953" y="2990"/>
                </a:lnTo>
                <a:lnTo>
                  <a:pt x="12950" y="3017"/>
                </a:lnTo>
                <a:lnTo>
                  <a:pt x="12950" y="3047"/>
                </a:lnTo>
                <a:lnTo>
                  <a:pt x="12929" y="3850"/>
                </a:lnTo>
                <a:lnTo>
                  <a:pt x="12841" y="4631"/>
                </a:lnTo>
                <a:lnTo>
                  <a:pt x="12687" y="5388"/>
                </a:lnTo>
                <a:lnTo>
                  <a:pt x="12467" y="6122"/>
                </a:lnTo>
                <a:lnTo>
                  <a:pt x="12180" y="6832"/>
                </a:lnTo>
                <a:lnTo>
                  <a:pt x="11827" y="7519"/>
                </a:lnTo>
                <a:lnTo>
                  <a:pt x="11408" y="8182"/>
                </a:lnTo>
                <a:lnTo>
                  <a:pt x="10923" y="8821"/>
                </a:lnTo>
                <a:lnTo>
                  <a:pt x="10445" y="9353"/>
                </a:lnTo>
                <a:lnTo>
                  <a:pt x="9935" y="9832"/>
                </a:lnTo>
                <a:lnTo>
                  <a:pt x="9392" y="10258"/>
                </a:lnTo>
                <a:lnTo>
                  <a:pt x="8817" y="10630"/>
                </a:lnTo>
                <a:lnTo>
                  <a:pt x="8211" y="10949"/>
                </a:lnTo>
                <a:lnTo>
                  <a:pt x="7574" y="11215"/>
                </a:lnTo>
                <a:lnTo>
                  <a:pt x="6907" y="11427"/>
                </a:lnTo>
                <a:lnTo>
                  <a:pt x="6210" y="11586"/>
                </a:lnTo>
                <a:lnTo>
                  <a:pt x="5402" y="11701"/>
                </a:lnTo>
                <a:lnTo>
                  <a:pt x="4606" y="11745"/>
                </a:lnTo>
                <a:lnTo>
                  <a:pt x="3823" y="11718"/>
                </a:lnTo>
                <a:lnTo>
                  <a:pt x="3053" y="11619"/>
                </a:lnTo>
                <a:lnTo>
                  <a:pt x="2295" y="11447"/>
                </a:lnTo>
                <a:lnTo>
                  <a:pt x="1550" y="11201"/>
                </a:lnTo>
                <a:lnTo>
                  <a:pt x="819" y="10882"/>
                </a:lnTo>
                <a:lnTo>
                  <a:pt x="101" y="10488"/>
                </a:lnTo>
                <a:lnTo>
                  <a:pt x="83" y="10477"/>
                </a:lnTo>
                <a:lnTo>
                  <a:pt x="63" y="10462"/>
                </a:lnTo>
                <a:lnTo>
                  <a:pt x="0" y="10417"/>
                </a:lnTo>
              </a:path>
            </a:pathLst>
          </a:custGeom>
          <a:solidFill>
            <a:srgbClr val="123563"/>
          </a:solidFill>
          <a:ln>
            <a:noFill/>
          </a:ln>
          <a:effectLst/>
        </p:spPr>
        <p:txBody>
          <a:bodyPr wrap="none" anchor="ctr"/>
          <a:lstStyle/>
          <a:p>
            <a:endParaRPr lang="de-DE" dirty="0">
              <a:latin typeface="BISansOpti"/>
            </a:endParaRPr>
          </a:p>
        </p:txBody>
      </p:sp>
      <p:sp>
        <p:nvSpPr>
          <p:cNvPr id="15" name="Freeform 2"/>
          <p:cNvSpPr>
            <a:spLocks noChangeAspect="1" noChangeArrowheads="1"/>
          </p:cNvSpPr>
          <p:nvPr userDrawn="1"/>
        </p:nvSpPr>
        <p:spPr bwMode="auto">
          <a:xfrm>
            <a:off x="1651481" y="1281034"/>
            <a:ext cx="360000" cy="269395"/>
          </a:xfrm>
          <a:custGeom>
            <a:avLst/>
            <a:gdLst>
              <a:gd name="T0" fmla="*/ 14325 w 14438"/>
              <a:gd name="T1" fmla="*/ 8118 h 10806"/>
              <a:gd name="T2" fmla="*/ 14255 w 14438"/>
              <a:gd name="T3" fmla="*/ 8647 h 10806"/>
              <a:gd name="T4" fmla="*/ 14181 w 14438"/>
              <a:gd name="T5" fmla="*/ 8993 h 10806"/>
              <a:gd name="T6" fmla="*/ 14077 w 14438"/>
              <a:gd name="T7" fmla="*/ 9332 h 10806"/>
              <a:gd name="T8" fmla="*/ 13964 w 14438"/>
              <a:gd name="T9" fmla="*/ 9609 h 10806"/>
              <a:gd name="T10" fmla="*/ 13852 w 14438"/>
              <a:gd name="T11" fmla="*/ 9813 h 10806"/>
              <a:gd name="T12" fmla="*/ 13721 w 14438"/>
              <a:gd name="T13" fmla="*/ 9995 h 10806"/>
              <a:gd name="T14" fmla="*/ 13572 w 14438"/>
              <a:gd name="T15" fmla="*/ 10155 h 10806"/>
              <a:gd name="T16" fmla="*/ 13405 w 14438"/>
              <a:gd name="T17" fmla="*/ 10292 h 10806"/>
              <a:gd name="T18" fmla="*/ 13220 w 14438"/>
              <a:gd name="T19" fmla="*/ 10406 h 10806"/>
              <a:gd name="T20" fmla="*/ 13016 w 14438"/>
              <a:gd name="T21" fmla="*/ 10497 h 10806"/>
              <a:gd name="T22" fmla="*/ 12795 w 14438"/>
              <a:gd name="T23" fmla="*/ 10564 h 10806"/>
              <a:gd name="T24" fmla="*/ 12403 w 14438"/>
              <a:gd name="T25" fmla="*/ 10631 h 10806"/>
              <a:gd name="T26" fmla="*/ 11849 w 14438"/>
              <a:gd name="T27" fmla="*/ 10683 h 10806"/>
              <a:gd name="T28" fmla="*/ 7794 w 14438"/>
              <a:gd name="T29" fmla="*/ 10805 h 10806"/>
              <a:gd name="T30" fmla="*/ 2034 w 14438"/>
              <a:gd name="T31" fmla="*/ 10612 h 10806"/>
              <a:gd name="T32" fmla="*/ 1725 w 14438"/>
              <a:gd name="T33" fmla="*/ 10567 h 10806"/>
              <a:gd name="T34" fmla="*/ 1442 w 14438"/>
              <a:gd name="T35" fmla="*/ 10487 h 10806"/>
              <a:gd name="T36" fmla="*/ 1186 w 14438"/>
              <a:gd name="T37" fmla="*/ 10372 h 10806"/>
              <a:gd name="T38" fmla="*/ 957 w 14438"/>
              <a:gd name="T39" fmla="*/ 10222 h 10806"/>
              <a:gd name="T40" fmla="*/ 756 w 14438"/>
              <a:gd name="T41" fmla="*/ 10035 h 10806"/>
              <a:gd name="T42" fmla="*/ 584 w 14438"/>
              <a:gd name="T43" fmla="*/ 9811 h 10806"/>
              <a:gd name="T44" fmla="*/ 440 w 14438"/>
              <a:gd name="T45" fmla="*/ 9549 h 10806"/>
              <a:gd name="T46" fmla="*/ 327 w 14438"/>
              <a:gd name="T47" fmla="*/ 9249 h 10806"/>
              <a:gd name="T48" fmla="*/ 215 w 14438"/>
              <a:gd name="T49" fmla="*/ 8800 h 10806"/>
              <a:gd name="T50" fmla="*/ 142 w 14438"/>
              <a:gd name="T51" fmla="*/ 8345 h 10806"/>
              <a:gd name="T52" fmla="*/ 60 w 14438"/>
              <a:gd name="T53" fmla="*/ 7429 h 10806"/>
              <a:gd name="T54" fmla="*/ 0 w 14438"/>
              <a:gd name="T55" fmla="*/ 4261 h 10806"/>
              <a:gd name="T56" fmla="*/ 19 w 14438"/>
              <a:gd name="T57" fmla="*/ 4179 h 10806"/>
              <a:gd name="T58" fmla="*/ 22 w 14438"/>
              <a:gd name="T59" fmla="*/ 4152 h 10806"/>
              <a:gd name="T60" fmla="*/ 124 w 14438"/>
              <a:gd name="T61" fmla="*/ 2563 h 10806"/>
              <a:gd name="T62" fmla="*/ 181 w 14438"/>
              <a:gd name="T63" fmla="*/ 2160 h 10806"/>
              <a:gd name="T64" fmla="*/ 268 w 14438"/>
              <a:gd name="T65" fmla="*/ 1763 h 10806"/>
              <a:gd name="T66" fmla="*/ 394 w 14438"/>
              <a:gd name="T67" fmla="*/ 1373 h 10806"/>
              <a:gd name="T68" fmla="*/ 495 w 14438"/>
              <a:gd name="T69" fmla="*/ 1146 h 10806"/>
              <a:gd name="T70" fmla="*/ 616 w 14438"/>
              <a:gd name="T71" fmla="*/ 940 h 10806"/>
              <a:gd name="T72" fmla="*/ 756 w 14438"/>
              <a:gd name="T73" fmla="*/ 757 h 10806"/>
              <a:gd name="T74" fmla="*/ 916 w 14438"/>
              <a:gd name="T75" fmla="*/ 598 h 10806"/>
              <a:gd name="T76" fmla="*/ 1095 w 14438"/>
              <a:gd name="T77" fmla="*/ 464 h 10806"/>
              <a:gd name="T78" fmla="*/ 1295 w 14438"/>
              <a:gd name="T79" fmla="*/ 355 h 10806"/>
              <a:gd name="T80" fmla="*/ 1515 w 14438"/>
              <a:gd name="T81" fmla="*/ 272 h 10806"/>
              <a:gd name="T82" fmla="*/ 1755 w 14438"/>
              <a:gd name="T83" fmla="*/ 217 h 10806"/>
              <a:gd name="T84" fmla="*/ 2523 w 14438"/>
              <a:gd name="T85" fmla="*/ 126 h 10806"/>
              <a:gd name="T86" fmla="*/ 3297 w 14438"/>
              <a:gd name="T87" fmla="*/ 84 h 10806"/>
              <a:gd name="T88" fmla="*/ 10458 w 14438"/>
              <a:gd name="T89" fmla="*/ 57 h 10806"/>
              <a:gd name="T90" fmla="*/ 12041 w 14438"/>
              <a:gd name="T91" fmla="*/ 144 h 10806"/>
              <a:gd name="T92" fmla="*/ 12686 w 14438"/>
              <a:gd name="T93" fmla="*/ 211 h 10806"/>
              <a:gd name="T94" fmla="*/ 12911 w 14438"/>
              <a:gd name="T95" fmla="*/ 262 h 10806"/>
              <a:gd name="T96" fmla="*/ 13122 w 14438"/>
              <a:gd name="T97" fmla="*/ 339 h 10806"/>
              <a:gd name="T98" fmla="*/ 13316 w 14438"/>
              <a:gd name="T99" fmla="*/ 440 h 10806"/>
              <a:gd name="T100" fmla="*/ 13493 w 14438"/>
              <a:gd name="T101" fmla="*/ 567 h 10806"/>
              <a:gd name="T102" fmla="*/ 13651 w 14438"/>
              <a:gd name="T103" fmla="*/ 718 h 10806"/>
              <a:gd name="T104" fmla="*/ 13790 w 14438"/>
              <a:gd name="T105" fmla="*/ 894 h 10806"/>
              <a:gd name="T106" fmla="*/ 13909 w 14438"/>
              <a:gd name="T107" fmla="*/ 1094 h 10806"/>
              <a:gd name="T108" fmla="*/ 14062 w 14438"/>
              <a:gd name="T109" fmla="*/ 1453 h 10806"/>
              <a:gd name="T110" fmla="*/ 14150 w 14438"/>
              <a:gd name="T111" fmla="*/ 1710 h 10806"/>
              <a:gd name="T112" fmla="*/ 14218 w 14438"/>
              <a:gd name="T113" fmla="*/ 1973 h 10806"/>
              <a:gd name="T114" fmla="*/ 14260 w 14438"/>
              <a:gd name="T115" fmla="*/ 2237 h 10806"/>
              <a:gd name="T116" fmla="*/ 14437 w 14438"/>
              <a:gd name="T117" fmla="*/ 5189 h 10806"/>
              <a:gd name="T118" fmla="*/ 5417 w 14438"/>
              <a:gd name="T119" fmla="*/ 8122 h 10806"/>
              <a:gd name="T120" fmla="*/ 5417 w 14438"/>
              <a:gd name="T121" fmla="*/ 2686 h 10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38" h="10806">
                <a:moveTo>
                  <a:pt x="14437" y="5994"/>
                </a:moveTo>
                <a:lnTo>
                  <a:pt x="14325" y="8118"/>
                </a:lnTo>
                <a:lnTo>
                  <a:pt x="14284" y="8472"/>
                </a:lnTo>
                <a:lnTo>
                  <a:pt x="14255" y="8647"/>
                </a:lnTo>
                <a:lnTo>
                  <a:pt x="14222" y="8821"/>
                </a:lnTo>
                <a:lnTo>
                  <a:pt x="14181" y="8993"/>
                </a:lnTo>
                <a:lnTo>
                  <a:pt x="14133" y="9164"/>
                </a:lnTo>
                <a:lnTo>
                  <a:pt x="14077" y="9332"/>
                </a:lnTo>
                <a:lnTo>
                  <a:pt x="14013" y="9499"/>
                </a:lnTo>
                <a:lnTo>
                  <a:pt x="13964" y="9609"/>
                </a:lnTo>
                <a:lnTo>
                  <a:pt x="13910" y="9714"/>
                </a:lnTo>
                <a:lnTo>
                  <a:pt x="13852" y="9813"/>
                </a:lnTo>
                <a:lnTo>
                  <a:pt x="13789" y="9907"/>
                </a:lnTo>
                <a:lnTo>
                  <a:pt x="13721" y="9995"/>
                </a:lnTo>
                <a:lnTo>
                  <a:pt x="13649" y="10078"/>
                </a:lnTo>
                <a:lnTo>
                  <a:pt x="13572" y="10155"/>
                </a:lnTo>
                <a:lnTo>
                  <a:pt x="13491" y="10226"/>
                </a:lnTo>
                <a:lnTo>
                  <a:pt x="13405" y="10292"/>
                </a:lnTo>
                <a:lnTo>
                  <a:pt x="13315" y="10352"/>
                </a:lnTo>
                <a:lnTo>
                  <a:pt x="13220" y="10406"/>
                </a:lnTo>
                <a:lnTo>
                  <a:pt x="13120" y="10454"/>
                </a:lnTo>
                <a:lnTo>
                  <a:pt x="13016" y="10497"/>
                </a:lnTo>
                <a:lnTo>
                  <a:pt x="12907" y="10533"/>
                </a:lnTo>
                <a:lnTo>
                  <a:pt x="12795" y="10564"/>
                </a:lnTo>
                <a:lnTo>
                  <a:pt x="12677" y="10588"/>
                </a:lnTo>
                <a:lnTo>
                  <a:pt x="12403" y="10631"/>
                </a:lnTo>
                <a:lnTo>
                  <a:pt x="12127" y="10662"/>
                </a:lnTo>
                <a:lnTo>
                  <a:pt x="11849" y="10683"/>
                </a:lnTo>
                <a:lnTo>
                  <a:pt x="11571" y="10696"/>
                </a:lnTo>
                <a:lnTo>
                  <a:pt x="7794" y="10805"/>
                </a:lnTo>
                <a:lnTo>
                  <a:pt x="4552" y="10756"/>
                </a:lnTo>
                <a:lnTo>
                  <a:pt x="2034" y="10612"/>
                </a:lnTo>
                <a:lnTo>
                  <a:pt x="1876" y="10594"/>
                </a:lnTo>
                <a:lnTo>
                  <a:pt x="1725" y="10567"/>
                </a:lnTo>
                <a:lnTo>
                  <a:pt x="1581" y="10531"/>
                </a:lnTo>
                <a:lnTo>
                  <a:pt x="1442" y="10487"/>
                </a:lnTo>
                <a:lnTo>
                  <a:pt x="1311" y="10434"/>
                </a:lnTo>
                <a:lnTo>
                  <a:pt x="1186" y="10372"/>
                </a:lnTo>
                <a:lnTo>
                  <a:pt x="1068" y="10302"/>
                </a:lnTo>
                <a:lnTo>
                  <a:pt x="957" y="10222"/>
                </a:lnTo>
                <a:lnTo>
                  <a:pt x="853" y="10133"/>
                </a:lnTo>
                <a:lnTo>
                  <a:pt x="756" y="10035"/>
                </a:lnTo>
                <a:lnTo>
                  <a:pt x="666" y="9927"/>
                </a:lnTo>
                <a:lnTo>
                  <a:pt x="584" y="9811"/>
                </a:lnTo>
                <a:lnTo>
                  <a:pt x="508" y="9685"/>
                </a:lnTo>
                <a:lnTo>
                  <a:pt x="440" y="9549"/>
                </a:lnTo>
                <a:lnTo>
                  <a:pt x="380" y="9404"/>
                </a:lnTo>
                <a:lnTo>
                  <a:pt x="327" y="9249"/>
                </a:lnTo>
                <a:lnTo>
                  <a:pt x="265" y="9025"/>
                </a:lnTo>
                <a:lnTo>
                  <a:pt x="215" y="8800"/>
                </a:lnTo>
                <a:lnTo>
                  <a:pt x="174" y="8573"/>
                </a:lnTo>
                <a:lnTo>
                  <a:pt x="142" y="8345"/>
                </a:lnTo>
                <a:lnTo>
                  <a:pt x="96" y="7888"/>
                </a:lnTo>
                <a:lnTo>
                  <a:pt x="60" y="7429"/>
                </a:lnTo>
                <a:lnTo>
                  <a:pt x="0" y="6548"/>
                </a:lnTo>
                <a:lnTo>
                  <a:pt x="0" y="4261"/>
                </a:lnTo>
                <a:lnTo>
                  <a:pt x="13" y="4207"/>
                </a:lnTo>
                <a:lnTo>
                  <a:pt x="19" y="4179"/>
                </a:lnTo>
                <a:lnTo>
                  <a:pt x="21" y="4166"/>
                </a:lnTo>
                <a:lnTo>
                  <a:pt x="22" y="4152"/>
                </a:lnTo>
                <a:lnTo>
                  <a:pt x="89" y="2970"/>
                </a:lnTo>
                <a:lnTo>
                  <a:pt x="124" y="2563"/>
                </a:lnTo>
                <a:lnTo>
                  <a:pt x="150" y="2361"/>
                </a:lnTo>
                <a:lnTo>
                  <a:pt x="181" y="2160"/>
                </a:lnTo>
                <a:lnTo>
                  <a:pt x="220" y="1960"/>
                </a:lnTo>
                <a:lnTo>
                  <a:pt x="268" y="1763"/>
                </a:lnTo>
                <a:lnTo>
                  <a:pt x="326" y="1567"/>
                </a:lnTo>
                <a:lnTo>
                  <a:pt x="394" y="1373"/>
                </a:lnTo>
                <a:lnTo>
                  <a:pt x="442" y="1257"/>
                </a:lnTo>
                <a:lnTo>
                  <a:pt x="495" y="1146"/>
                </a:lnTo>
                <a:lnTo>
                  <a:pt x="553" y="1040"/>
                </a:lnTo>
                <a:lnTo>
                  <a:pt x="616" y="940"/>
                </a:lnTo>
                <a:lnTo>
                  <a:pt x="684" y="846"/>
                </a:lnTo>
                <a:lnTo>
                  <a:pt x="756" y="757"/>
                </a:lnTo>
                <a:lnTo>
                  <a:pt x="833" y="675"/>
                </a:lnTo>
                <a:lnTo>
                  <a:pt x="916" y="598"/>
                </a:lnTo>
                <a:lnTo>
                  <a:pt x="1003" y="528"/>
                </a:lnTo>
                <a:lnTo>
                  <a:pt x="1095" y="464"/>
                </a:lnTo>
                <a:lnTo>
                  <a:pt x="1193" y="406"/>
                </a:lnTo>
                <a:lnTo>
                  <a:pt x="1295" y="355"/>
                </a:lnTo>
                <a:lnTo>
                  <a:pt x="1402" y="310"/>
                </a:lnTo>
                <a:lnTo>
                  <a:pt x="1515" y="272"/>
                </a:lnTo>
                <a:lnTo>
                  <a:pt x="1632" y="241"/>
                </a:lnTo>
                <a:lnTo>
                  <a:pt x="1755" y="217"/>
                </a:lnTo>
                <a:lnTo>
                  <a:pt x="2137" y="163"/>
                </a:lnTo>
                <a:lnTo>
                  <a:pt x="2523" y="126"/>
                </a:lnTo>
                <a:lnTo>
                  <a:pt x="2910" y="101"/>
                </a:lnTo>
                <a:lnTo>
                  <a:pt x="3297" y="84"/>
                </a:lnTo>
                <a:lnTo>
                  <a:pt x="6666" y="0"/>
                </a:lnTo>
                <a:lnTo>
                  <a:pt x="10458" y="57"/>
                </a:lnTo>
                <a:lnTo>
                  <a:pt x="11514" y="105"/>
                </a:lnTo>
                <a:lnTo>
                  <a:pt x="12041" y="144"/>
                </a:lnTo>
                <a:lnTo>
                  <a:pt x="12567" y="195"/>
                </a:lnTo>
                <a:lnTo>
                  <a:pt x="12686" y="211"/>
                </a:lnTo>
                <a:lnTo>
                  <a:pt x="12800" y="233"/>
                </a:lnTo>
                <a:lnTo>
                  <a:pt x="12911" y="262"/>
                </a:lnTo>
                <a:lnTo>
                  <a:pt x="13019" y="297"/>
                </a:lnTo>
                <a:lnTo>
                  <a:pt x="13122" y="339"/>
                </a:lnTo>
                <a:lnTo>
                  <a:pt x="13221" y="386"/>
                </a:lnTo>
                <a:lnTo>
                  <a:pt x="13316" y="440"/>
                </a:lnTo>
                <a:lnTo>
                  <a:pt x="13406" y="500"/>
                </a:lnTo>
                <a:lnTo>
                  <a:pt x="13493" y="567"/>
                </a:lnTo>
                <a:lnTo>
                  <a:pt x="13574" y="639"/>
                </a:lnTo>
                <a:lnTo>
                  <a:pt x="13651" y="718"/>
                </a:lnTo>
                <a:lnTo>
                  <a:pt x="13723" y="803"/>
                </a:lnTo>
                <a:lnTo>
                  <a:pt x="13790" y="894"/>
                </a:lnTo>
                <a:lnTo>
                  <a:pt x="13852" y="991"/>
                </a:lnTo>
                <a:lnTo>
                  <a:pt x="13909" y="1094"/>
                </a:lnTo>
                <a:lnTo>
                  <a:pt x="13960" y="1203"/>
                </a:lnTo>
                <a:lnTo>
                  <a:pt x="14062" y="1453"/>
                </a:lnTo>
                <a:lnTo>
                  <a:pt x="14108" y="1581"/>
                </a:lnTo>
                <a:lnTo>
                  <a:pt x="14150" y="1710"/>
                </a:lnTo>
                <a:lnTo>
                  <a:pt x="14187" y="1841"/>
                </a:lnTo>
                <a:lnTo>
                  <a:pt x="14218" y="1973"/>
                </a:lnTo>
                <a:lnTo>
                  <a:pt x="14242" y="2105"/>
                </a:lnTo>
                <a:lnTo>
                  <a:pt x="14260" y="2237"/>
                </a:lnTo>
                <a:lnTo>
                  <a:pt x="14427" y="4739"/>
                </a:lnTo>
                <a:lnTo>
                  <a:pt x="14437" y="5189"/>
                </a:lnTo>
                <a:lnTo>
                  <a:pt x="14437" y="5994"/>
                </a:lnTo>
                <a:close/>
                <a:moveTo>
                  <a:pt x="5417" y="8122"/>
                </a:moveTo>
                <a:lnTo>
                  <a:pt x="9947" y="5404"/>
                </a:lnTo>
                <a:lnTo>
                  <a:pt x="5417" y="2686"/>
                </a:lnTo>
                <a:lnTo>
                  <a:pt x="5417" y="8122"/>
                </a:lnTo>
                <a:close/>
              </a:path>
            </a:pathLst>
          </a:custGeom>
          <a:solidFill>
            <a:srgbClr val="123563"/>
          </a:solidFill>
          <a:ln>
            <a:noFill/>
          </a:ln>
          <a:effectLst/>
        </p:spPr>
        <p:txBody>
          <a:bodyPr wrap="none" anchor="ctr"/>
          <a:lstStyle/>
          <a:p>
            <a:endParaRPr lang="de-DE" dirty="0">
              <a:latin typeface="BISansOpti"/>
            </a:endParaRPr>
          </a:p>
        </p:txBody>
      </p:sp>
      <p:sp>
        <p:nvSpPr>
          <p:cNvPr id="16" name="Freeform 2"/>
          <p:cNvSpPr>
            <a:spLocks noChangeAspect="1" noChangeArrowheads="1"/>
          </p:cNvSpPr>
          <p:nvPr userDrawn="1"/>
        </p:nvSpPr>
        <p:spPr bwMode="auto">
          <a:xfrm>
            <a:off x="2312456" y="1240070"/>
            <a:ext cx="287999" cy="371391"/>
          </a:xfrm>
          <a:custGeom>
            <a:avLst/>
            <a:gdLst>
              <a:gd name="T0" fmla="*/ 3118 w 9837"/>
              <a:gd name="T1" fmla="*/ 11425 h 12686"/>
              <a:gd name="T2" fmla="*/ 2294 w 9837"/>
              <a:gd name="T3" fmla="*/ 12646 h 12686"/>
              <a:gd name="T4" fmla="*/ 2234 w 9837"/>
              <a:gd name="T5" fmla="*/ 12679 h 12686"/>
              <a:gd name="T6" fmla="*/ 2189 w 9837"/>
              <a:gd name="T7" fmla="*/ 12684 h 12686"/>
              <a:gd name="T8" fmla="*/ 2154 w 9837"/>
              <a:gd name="T9" fmla="*/ 12659 h 12686"/>
              <a:gd name="T10" fmla="*/ 2115 w 9837"/>
              <a:gd name="T11" fmla="*/ 12581 h 12686"/>
              <a:gd name="T12" fmla="*/ 2014 w 9837"/>
              <a:gd name="T13" fmla="*/ 11008 h 12686"/>
              <a:gd name="T14" fmla="*/ 3053 w 9837"/>
              <a:gd name="T15" fmla="*/ 5966 h 12686"/>
              <a:gd name="T16" fmla="*/ 3042 w 9837"/>
              <a:gd name="T17" fmla="*/ 5815 h 12686"/>
              <a:gd name="T18" fmla="*/ 2842 w 9837"/>
              <a:gd name="T19" fmla="*/ 4798 h 12686"/>
              <a:gd name="T20" fmla="*/ 3098 w 9837"/>
              <a:gd name="T21" fmla="*/ 3624 h 12686"/>
              <a:gd name="T22" fmla="*/ 3521 w 9837"/>
              <a:gd name="T23" fmla="*/ 3104 h 12686"/>
              <a:gd name="T24" fmla="*/ 4132 w 9837"/>
              <a:gd name="T25" fmla="*/ 2846 h 12686"/>
              <a:gd name="T26" fmla="*/ 4671 w 9837"/>
              <a:gd name="T27" fmla="*/ 2922 h 12686"/>
              <a:gd name="T28" fmla="*/ 5025 w 9837"/>
              <a:gd name="T29" fmla="*/ 3211 h 12686"/>
              <a:gd name="T30" fmla="*/ 5210 w 9837"/>
              <a:gd name="T31" fmla="*/ 3670 h 12686"/>
              <a:gd name="T32" fmla="*/ 5155 w 9837"/>
              <a:gd name="T33" fmla="*/ 4529 h 12686"/>
              <a:gd name="T34" fmla="*/ 4590 w 9837"/>
              <a:gd name="T35" fmla="*/ 7081 h 12686"/>
              <a:gd name="T36" fmla="*/ 5138 w 9837"/>
              <a:gd name="T37" fmla="*/ 7774 h 12686"/>
              <a:gd name="T38" fmla="*/ 6107 w 9837"/>
              <a:gd name="T39" fmla="*/ 7877 h 12686"/>
              <a:gd name="T40" fmla="*/ 6907 w 9837"/>
              <a:gd name="T41" fmla="*/ 7429 h 12686"/>
              <a:gd name="T42" fmla="*/ 7658 w 9837"/>
              <a:gd name="T43" fmla="*/ 6268 h 12686"/>
              <a:gd name="T44" fmla="*/ 8036 w 9837"/>
              <a:gd name="T45" fmla="*/ 4561 h 12686"/>
              <a:gd name="T46" fmla="*/ 7946 w 9837"/>
              <a:gd name="T47" fmla="*/ 3244 h 12686"/>
              <a:gd name="T48" fmla="*/ 7471 w 9837"/>
              <a:gd name="T49" fmla="*/ 2262 h 12686"/>
              <a:gd name="T50" fmla="*/ 6646 w 9837"/>
              <a:gd name="T51" fmla="*/ 1607 h 12686"/>
              <a:gd name="T52" fmla="*/ 5184 w 9837"/>
              <a:gd name="T53" fmla="*/ 1253 h 12686"/>
              <a:gd name="T54" fmla="*/ 3867 w 9837"/>
              <a:gd name="T55" fmla="*/ 1402 h 12686"/>
              <a:gd name="T56" fmla="*/ 2664 w 9837"/>
              <a:gd name="T57" fmla="*/ 2075 h 12686"/>
              <a:gd name="T58" fmla="*/ 1782 w 9837"/>
              <a:gd name="T59" fmla="*/ 3159 h 12686"/>
              <a:gd name="T60" fmla="*/ 1441 w 9837"/>
              <a:gd name="T61" fmla="*/ 4444 h 12686"/>
              <a:gd name="T62" fmla="*/ 1565 w 9837"/>
              <a:gd name="T63" fmla="*/ 5601 h 12686"/>
              <a:gd name="T64" fmla="*/ 1877 w 9837"/>
              <a:gd name="T65" fmla="*/ 6126 h 12686"/>
              <a:gd name="T66" fmla="*/ 2001 w 9837"/>
              <a:gd name="T67" fmla="*/ 6319 h 12686"/>
              <a:gd name="T68" fmla="*/ 2029 w 9837"/>
              <a:gd name="T69" fmla="*/ 6526 h 12686"/>
              <a:gd name="T70" fmla="*/ 1959 w 9837"/>
              <a:gd name="T71" fmla="*/ 6794 h 12686"/>
              <a:gd name="T72" fmla="*/ 1816 w 9837"/>
              <a:gd name="T73" fmla="*/ 7275 h 12686"/>
              <a:gd name="T74" fmla="*/ 1678 w 9837"/>
              <a:gd name="T75" fmla="*/ 7368 h 12686"/>
              <a:gd name="T76" fmla="*/ 1479 w 9837"/>
              <a:gd name="T77" fmla="*/ 7335 h 12686"/>
              <a:gd name="T78" fmla="*/ 785 w 9837"/>
              <a:gd name="T79" fmla="*/ 6867 h 12686"/>
              <a:gd name="T80" fmla="*/ 124 w 9837"/>
              <a:gd name="T81" fmla="*/ 5565 h 12686"/>
              <a:gd name="T82" fmla="*/ 8 w 9837"/>
              <a:gd name="T83" fmla="*/ 4355 h 12686"/>
              <a:gd name="T84" fmla="*/ 473 w 9837"/>
              <a:gd name="T85" fmla="*/ 2695 h 12686"/>
              <a:gd name="T86" fmla="*/ 1407 w 9837"/>
              <a:gd name="T87" fmla="*/ 1407 h 12686"/>
              <a:gd name="T88" fmla="*/ 2703 w 9837"/>
              <a:gd name="T89" fmla="*/ 537 h 12686"/>
              <a:gd name="T90" fmla="*/ 5376 w 9837"/>
              <a:gd name="T91" fmla="*/ 0 h 12686"/>
              <a:gd name="T92" fmla="*/ 7729 w 9837"/>
              <a:gd name="T93" fmla="*/ 664 h 12686"/>
              <a:gd name="T94" fmla="*/ 8900 w 9837"/>
              <a:gd name="T95" fmla="*/ 1632 h 12686"/>
              <a:gd name="T96" fmla="*/ 9626 w 9837"/>
              <a:gd name="T97" fmla="*/ 2968 h 12686"/>
              <a:gd name="T98" fmla="*/ 9835 w 9837"/>
              <a:gd name="T99" fmla="*/ 4374 h 12686"/>
              <a:gd name="T100" fmla="*/ 9529 w 9837"/>
              <a:gd name="T101" fmla="*/ 6232 h 12686"/>
              <a:gd name="T102" fmla="*/ 8493 w 9837"/>
              <a:gd name="T103" fmla="*/ 8045 h 12686"/>
              <a:gd name="T104" fmla="*/ 7525 w 9837"/>
              <a:gd name="T105" fmla="*/ 8795 h 12686"/>
              <a:gd name="T106" fmla="*/ 6357 w 9837"/>
              <a:gd name="T107" fmla="*/ 9150 h 12686"/>
              <a:gd name="T108" fmla="*/ 5273 w 9837"/>
              <a:gd name="T109" fmla="*/ 9099 h 12686"/>
              <a:gd name="T110" fmla="*/ 4591 w 9837"/>
              <a:gd name="T111" fmla="*/ 8776 h 12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37" h="12686">
                <a:moveTo>
                  <a:pt x="4115" y="8296"/>
                </a:moveTo>
                <a:lnTo>
                  <a:pt x="3659" y="10080"/>
                </a:lnTo>
                <a:lnTo>
                  <a:pt x="3556" y="10434"/>
                </a:lnTo>
                <a:lnTo>
                  <a:pt x="3431" y="10775"/>
                </a:lnTo>
                <a:lnTo>
                  <a:pt x="3284" y="11105"/>
                </a:lnTo>
                <a:lnTo>
                  <a:pt x="3118" y="11425"/>
                </a:lnTo>
                <a:lnTo>
                  <a:pt x="2936" y="11736"/>
                </a:lnTo>
                <a:lnTo>
                  <a:pt x="2740" y="12039"/>
                </a:lnTo>
                <a:lnTo>
                  <a:pt x="2313" y="12628"/>
                </a:lnTo>
                <a:lnTo>
                  <a:pt x="2307" y="12634"/>
                </a:lnTo>
                <a:lnTo>
                  <a:pt x="2301" y="12640"/>
                </a:lnTo>
                <a:lnTo>
                  <a:pt x="2294" y="12646"/>
                </a:lnTo>
                <a:lnTo>
                  <a:pt x="2286" y="12652"/>
                </a:lnTo>
                <a:lnTo>
                  <a:pt x="2278" y="12658"/>
                </a:lnTo>
                <a:lnTo>
                  <a:pt x="2270" y="12663"/>
                </a:lnTo>
                <a:lnTo>
                  <a:pt x="2252" y="12672"/>
                </a:lnTo>
                <a:lnTo>
                  <a:pt x="2243" y="12676"/>
                </a:lnTo>
                <a:lnTo>
                  <a:pt x="2234" y="12679"/>
                </a:lnTo>
                <a:lnTo>
                  <a:pt x="2225" y="12682"/>
                </a:lnTo>
                <a:lnTo>
                  <a:pt x="2216" y="12684"/>
                </a:lnTo>
                <a:lnTo>
                  <a:pt x="2207" y="12685"/>
                </a:lnTo>
                <a:lnTo>
                  <a:pt x="2200" y="12685"/>
                </a:lnTo>
                <a:lnTo>
                  <a:pt x="2192" y="12685"/>
                </a:lnTo>
                <a:lnTo>
                  <a:pt x="2189" y="12684"/>
                </a:lnTo>
                <a:lnTo>
                  <a:pt x="2186" y="12683"/>
                </a:lnTo>
                <a:lnTo>
                  <a:pt x="2179" y="12680"/>
                </a:lnTo>
                <a:lnTo>
                  <a:pt x="2173" y="12676"/>
                </a:lnTo>
                <a:lnTo>
                  <a:pt x="2166" y="12671"/>
                </a:lnTo>
                <a:lnTo>
                  <a:pt x="2160" y="12666"/>
                </a:lnTo>
                <a:lnTo>
                  <a:pt x="2154" y="12659"/>
                </a:lnTo>
                <a:lnTo>
                  <a:pt x="2148" y="12652"/>
                </a:lnTo>
                <a:lnTo>
                  <a:pt x="2143" y="12644"/>
                </a:lnTo>
                <a:lnTo>
                  <a:pt x="2138" y="12636"/>
                </a:lnTo>
                <a:lnTo>
                  <a:pt x="2129" y="12618"/>
                </a:lnTo>
                <a:lnTo>
                  <a:pt x="2121" y="12600"/>
                </a:lnTo>
                <a:lnTo>
                  <a:pt x="2115" y="12581"/>
                </a:lnTo>
                <a:lnTo>
                  <a:pt x="2113" y="12573"/>
                </a:lnTo>
                <a:lnTo>
                  <a:pt x="2112" y="12564"/>
                </a:lnTo>
                <a:lnTo>
                  <a:pt x="2063" y="12174"/>
                </a:lnTo>
                <a:lnTo>
                  <a:pt x="2030" y="11785"/>
                </a:lnTo>
                <a:lnTo>
                  <a:pt x="2013" y="11396"/>
                </a:lnTo>
                <a:lnTo>
                  <a:pt x="2014" y="11008"/>
                </a:lnTo>
                <a:lnTo>
                  <a:pt x="2034" y="10620"/>
                </a:lnTo>
                <a:lnTo>
                  <a:pt x="2075" y="10233"/>
                </a:lnTo>
                <a:lnTo>
                  <a:pt x="2139" y="9846"/>
                </a:lnTo>
                <a:lnTo>
                  <a:pt x="2226" y="9459"/>
                </a:lnTo>
                <a:lnTo>
                  <a:pt x="3051" y="5979"/>
                </a:lnTo>
                <a:lnTo>
                  <a:pt x="3053" y="5966"/>
                </a:lnTo>
                <a:lnTo>
                  <a:pt x="3055" y="5953"/>
                </a:lnTo>
                <a:lnTo>
                  <a:pt x="3057" y="5926"/>
                </a:lnTo>
                <a:lnTo>
                  <a:pt x="3056" y="5898"/>
                </a:lnTo>
                <a:lnTo>
                  <a:pt x="3053" y="5871"/>
                </a:lnTo>
                <a:lnTo>
                  <a:pt x="3049" y="5843"/>
                </a:lnTo>
                <a:lnTo>
                  <a:pt x="3042" y="5815"/>
                </a:lnTo>
                <a:lnTo>
                  <a:pt x="3035" y="5788"/>
                </a:lnTo>
                <a:lnTo>
                  <a:pt x="3027" y="5763"/>
                </a:lnTo>
                <a:lnTo>
                  <a:pt x="2952" y="5522"/>
                </a:lnTo>
                <a:lnTo>
                  <a:pt x="2895" y="5281"/>
                </a:lnTo>
                <a:lnTo>
                  <a:pt x="2858" y="5040"/>
                </a:lnTo>
                <a:lnTo>
                  <a:pt x="2842" y="4798"/>
                </a:lnTo>
                <a:lnTo>
                  <a:pt x="2848" y="4557"/>
                </a:lnTo>
                <a:lnTo>
                  <a:pt x="2876" y="4315"/>
                </a:lnTo>
                <a:lnTo>
                  <a:pt x="2929" y="4073"/>
                </a:lnTo>
                <a:lnTo>
                  <a:pt x="3007" y="3832"/>
                </a:lnTo>
                <a:lnTo>
                  <a:pt x="3050" y="3726"/>
                </a:lnTo>
                <a:lnTo>
                  <a:pt x="3098" y="3624"/>
                </a:lnTo>
                <a:lnTo>
                  <a:pt x="3153" y="3526"/>
                </a:lnTo>
                <a:lnTo>
                  <a:pt x="3213" y="3432"/>
                </a:lnTo>
                <a:lnTo>
                  <a:pt x="3280" y="3343"/>
                </a:lnTo>
                <a:lnTo>
                  <a:pt x="3354" y="3258"/>
                </a:lnTo>
                <a:lnTo>
                  <a:pt x="3434" y="3178"/>
                </a:lnTo>
                <a:lnTo>
                  <a:pt x="3521" y="3104"/>
                </a:lnTo>
                <a:lnTo>
                  <a:pt x="3614" y="3035"/>
                </a:lnTo>
                <a:lnTo>
                  <a:pt x="3711" y="2977"/>
                </a:lnTo>
                <a:lnTo>
                  <a:pt x="3812" y="2929"/>
                </a:lnTo>
                <a:lnTo>
                  <a:pt x="3915" y="2891"/>
                </a:lnTo>
                <a:lnTo>
                  <a:pt x="4022" y="2863"/>
                </a:lnTo>
                <a:lnTo>
                  <a:pt x="4132" y="2846"/>
                </a:lnTo>
                <a:lnTo>
                  <a:pt x="4245" y="2840"/>
                </a:lnTo>
                <a:lnTo>
                  <a:pt x="4362" y="2844"/>
                </a:lnTo>
                <a:lnTo>
                  <a:pt x="4443" y="2854"/>
                </a:lnTo>
                <a:lnTo>
                  <a:pt x="4522" y="2870"/>
                </a:lnTo>
                <a:lnTo>
                  <a:pt x="4598" y="2893"/>
                </a:lnTo>
                <a:lnTo>
                  <a:pt x="4671" y="2922"/>
                </a:lnTo>
                <a:lnTo>
                  <a:pt x="4739" y="2956"/>
                </a:lnTo>
                <a:lnTo>
                  <a:pt x="4805" y="2997"/>
                </a:lnTo>
                <a:lnTo>
                  <a:pt x="4866" y="3043"/>
                </a:lnTo>
                <a:lnTo>
                  <a:pt x="4923" y="3094"/>
                </a:lnTo>
                <a:lnTo>
                  <a:pt x="4976" y="3150"/>
                </a:lnTo>
                <a:lnTo>
                  <a:pt x="5025" y="3211"/>
                </a:lnTo>
                <a:lnTo>
                  <a:pt x="5068" y="3277"/>
                </a:lnTo>
                <a:lnTo>
                  <a:pt x="5107" y="3348"/>
                </a:lnTo>
                <a:lnTo>
                  <a:pt x="5141" y="3422"/>
                </a:lnTo>
                <a:lnTo>
                  <a:pt x="5170" y="3501"/>
                </a:lnTo>
                <a:lnTo>
                  <a:pt x="5193" y="3584"/>
                </a:lnTo>
                <a:lnTo>
                  <a:pt x="5210" y="3670"/>
                </a:lnTo>
                <a:lnTo>
                  <a:pt x="5228" y="3816"/>
                </a:lnTo>
                <a:lnTo>
                  <a:pt x="5232" y="3961"/>
                </a:lnTo>
                <a:lnTo>
                  <a:pt x="5226" y="4105"/>
                </a:lnTo>
                <a:lnTo>
                  <a:pt x="5209" y="4247"/>
                </a:lnTo>
                <a:lnTo>
                  <a:pt x="5185" y="4389"/>
                </a:lnTo>
                <a:lnTo>
                  <a:pt x="5155" y="4529"/>
                </a:lnTo>
                <a:lnTo>
                  <a:pt x="5082" y="4809"/>
                </a:lnTo>
                <a:lnTo>
                  <a:pt x="4617" y="6403"/>
                </a:lnTo>
                <a:lnTo>
                  <a:pt x="4574" y="6584"/>
                </a:lnTo>
                <a:lnTo>
                  <a:pt x="4556" y="6758"/>
                </a:lnTo>
                <a:lnTo>
                  <a:pt x="4562" y="6924"/>
                </a:lnTo>
                <a:lnTo>
                  <a:pt x="4590" y="7081"/>
                </a:lnTo>
                <a:lnTo>
                  <a:pt x="4639" y="7228"/>
                </a:lnTo>
                <a:lnTo>
                  <a:pt x="4706" y="7364"/>
                </a:lnTo>
                <a:lnTo>
                  <a:pt x="4791" y="7487"/>
                </a:lnTo>
                <a:lnTo>
                  <a:pt x="4892" y="7598"/>
                </a:lnTo>
                <a:lnTo>
                  <a:pt x="5008" y="7693"/>
                </a:lnTo>
                <a:lnTo>
                  <a:pt x="5138" y="7774"/>
                </a:lnTo>
                <a:lnTo>
                  <a:pt x="5278" y="7838"/>
                </a:lnTo>
                <a:lnTo>
                  <a:pt x="5430" y="7885"/>
                </a:lnTo>
                <a:lnTo>
                  <a:pt x="5589" y="7914"/>
                </a:lnTo>
                <a:lnTo>
                  <a:pt x="5757" y="7922"/>
                </a:lnTo>
                <a:lnTo>
                  <a:pt x="5930" y="7911"/>
                </a:lnTo>
                <a:lnTo>
                  <a:pt x="6107" y="7877"/>
                </a:lnTo>
                <a:lnTo>
                  <a:pt x="6260" y="7832"/>
                </a:lnTo>
                <a:lnTo>
                  <a:pt x="6405" y="7774"/>
                </a:lnTo>
                <a:lnTo>
                  <a:pt x="6541" y="7704"/>
                </a:lnTo>
                <a:lnTo>
                  <a:pt x="6670" y="7623"/>
                </a:lnTo>
                <a:lnTo>
                  <a:pt x="6792" y="7531"/>
                </a:lnTo>
                <a:lnTo>
                  <a:pt x="6907" y="7429"/>
                </a:lnTo>
                <a:lnTo>
                  <a:pt x="7016" y="7318"/>
                </a:lnTo>
                <a:lnTo>
                  <a:pt x="7118" y="7198"/>
                </a:lnTo>
                <a:lnTo>
                  <a:pt x="7282" y="6978"/>
                </a:lnTo>
                <a:lnTo>
                  <a:pt x="7426" y="6749"/>
                </a:lnTo>
                <a:lnTo>
                  <a:pt x="7551" y="6512"/>
                </a:lnTo>
                <a:lnTo>
                  <a:pt x="7658" y="6268"/>
                </a:lnTo>
                <a:lnTo>
                  <a:pt x="7749" y="6017"/>
                </a:lnTo>
                <a:lnTo>
                  <a:pt x="7826" y="5760"/>
                </a:lnTo>
                <a:lnTo>
                  <a:pt x="7890" y="5498"/>
                </a:lnTo>
                <a:lnTo>
                  <a:pt x="7943" y="5232"/>
                </a:lnTo>
                <a:lnTo>
                  <a:pt x="8012" y="4785"/>
                </a:lnTo>
                <a:lnTo>
                  <a:pt x="8036" y="4561"/>
                </a:lnTo>
                <a:lnTo>
                  <a:pt x="8052" y="4336"/>
                </a:lnTo>
                <a:lnTo>
                  <a:pt x="8056" y="4111"/>
                </a:lnTo>
                <a:lnTo>
                  <a:pt x="8048" y="3887"/>
                </a:lnTo>
                <a:lnTo>
                  <a:pt x="8027" y="3662"/>
                </a:lnTo>
                <a:lnTo>
                  <a:pt x="7990" y="3438"/>
                </a:lnTo>
                <a:lnTo>
                  <a:pt x="7946" y="3244"/>
                </a:lnTo>
                <a:lnTo>
                  <a:pt x="7891" y="3058"/>
                </a:lnTo>
                <a:lnTo>
                  <a:pt x="7827" y="2881"/>
                </a:lnTo>
                <a:lnTo>
                  <a:pt x="7752" y="2713"/>
                </a:lnTo>
                <a:lnTo>
                  <a:pt x="7668" y="2554"/>
                </a:lnTo>
                <a:lnTo>
                  <a:pt x="7574" y="2403"/>
                </a:lnTo>
                <a:lnTo>
                  <a:pt x="7471" y="2262"/>
                </a:lnTo>
                <a:lnTo>
                  <a:pt x="7357" y="2130"/>
                </a:lnTo>
                <a:lnTo>
                  <a:pt x="7234" y="2006"/>
                </a:lnTo>
                <a:lnTo>
                  <a:pt x="7101" y="1892"/>
                </a:lnTo>
                <a:lnTo>
                  <a:pt x="6959" y="1788"/>
                </a:lnTo>
                <a:lnTo>
                  <a:pt x="6807" y="1693"/>
                </a:lnTo>
                <a:lnTo>
                  <a:pt x="6646" y="1607"/>
                </a:lnTo>
                <a:lnTo>
                  <a:pt x="6475" y="1531"/>
                </a:lnTo>
                <a:lnTo>
                  <a:pt x="6295" y="1464"/>
                </a:lnTo>
                <a:lnTo>
                  <a:pt x="6105" y="1408"/>
                </a:lnTo>
                <a:lnTo>
                  <a:pt x="5642" y="1307"/>
                </a:lnTo>
                <a:lnTo>
                  <a:pt x="5412" y="1273"/>
                </a:lnTo>
                <a:lnTo>
                  <a:pt x="5184" y="1253"/>
                </a:lnTo>
                <a:lnTo>
                  <a:pt x="4959" y="1244"/>
                </a:lnTo>
                <a:lnTo>
                  <a:pt x="4735" y="1249"/>
                </a:lnTo>
                <a:lnTo>
                  <a:pt x="4514" y="1266"/>
                </a:lnTo>
                <a:lnTo>
                  <a:pt x="4296" y="1298"/>
                </a:lnTo>
                <a:lnTo>
                  <a:pt x="4080" y="1343"/>
                </a:lnTo>
                <a:lnTo>
                  <a:pt x="3867" y="1402"/>
                </a:lnTo>
                <a:lnTo>
                  <a:pt x="3658" y="1476"/>
                </a:lnTo>
                <a:lnTo>
                  <a:pt x="3451" y="1565"/>
                </a:lnTo>
                <a:lnTo>
                  <a:pt x="3249" y="1669"/>
                </a:lnTo>
                <a:lnTo>
                  <a:pt x="3050" y="1788"/>
                </a:lnTo>
                <a:lnTo>
                  <a:pt x="2855" y="1923"/>
                </a:lnTo>
                <a:lnTo>
                  <a:pt x="2664" y="2075"/>
                </a:lnTo>
                <a:lnTo>
                  <a:pt x="2479" y="2241"/>
                </a:lnTo>
                <a:lnTo>
                  <a:pt x="2309" y="2413"/>
                </a:lnTo>
                <a:lnTo>
                  <a:pt x="2155" y="2590"/>
                </a:lnTo>
                <a:lnTo>
                  <a:pt x="2015" y="2774"/>
                </a:lnTo>
                <a:lnTo>
                  <a:pt x="1891" y="2964"/>
                </a:lnTo>
                <a:lnTo>
                  <a:pt x="1782" y="3159"/>
                </a:lnTo>
                <a:lnTo>
                  <a:pt x="1687" y="3360"/>
                </a:lnTo>
                <a:lnTo>
                  <a:pt x="1608" y="3566"/>
                </a:lnTo>
                <a:lnTo>
                  <a:pt x="1544" y="3778"/>
                </a:lnTo>
                <a:lnTo>
                  <a:pt x="1495" y="3995"/>
                </a:lnTo>
                <a:lnTo>
                  <a:pt x="1460" y="4217"/>
                </a:lnTo>
                <a:lnTo>
                  <a:pt x="1441" y="4444"/>
                </a:lnTo>
                <a:lnTo>
                  <a:pt x="1437" y="4677"/>
                </a:lnTo>
                <a:lnTo>
                  <a:pt x="1447" y="4914"/>
                </a:lnTo>
                <a:lnTo>
                  <a:pt x="1473" y="5156"/>
                </a:lnTo>
                <a:lnTo>
                  <a:pt x="1513" y="5403"/>
                </a:lnTo>
                <a:lnTo>
                  <a:pt x="1536" y="5503"/>
                </a:lnTo>
                <a:lnTo>
                  <a:pt x="1565" y="5601"/>
                </a:lnTo>
                <a:lnTo>
                  <a:pt x="1602" y="5697"/>
                </a:lnTo>
                <a:lnTo>
                  <a:pt x="1644" y="5789"/>
                </a:lnTo>
                <a:lnTo>
                  <a:pt x="1694" y="5879"/>
                </a:lnTo>
                <a:lnTo>
                  <a:pt x="1749" y="5965"/>
                </a:lnTo>
                <a:lnTo>
                  <a:pt x="1810" y="6047"/>
                </a:lnTo>
                <a:lnTo>
                  <a:pt x="1877" y="6126"/>
                </a:lnTo>
                <a:lnTo>
                  <a:pt x="1904" y="6157"/>
                </a:lnTo>
                <a:lnTo>
                  <a:pt x="1929" y="6189"/>
                </a:lnTo>
                <a:lnTo>
                  <a:pt x="1951" y="6221"/>
                </a:lnTo>
                <a:lnTo>
                  <a:pt x="1970" y="6253"/>
                </a:lnTo>
                <a:lnTo>
                  <a:pt x="1987" y="6286"/>
                </a:lnTo>
                <a:lnTo>
                  <a:pt x="2001" y="6319"/>
                </a:lnTo>
                <a:lnTo>
                  <a:pt x="2012" y="6352"/>
                </a:lnTo>
                <a:lnTo>
                  <a:pt x="2021" y="6386"/>
                </a:lnTo>
                <a:lnTo>
                  <a:pt x="2027" y="6420"/>
                </a:lnTo>
                <a:lnTo>
                  <a:pt x="2030" y="6455"/>
                </a:lnTo>
                <a:lnTo>
                  <a:pt x="2031" y="6490"/>
                </a:lnTo>
                <a:lnTo>
                  <a:pt x="2029" y="6526"/>
                </a:lnTo>
                <a:lnTo>
                  <a:pt x="2024" y="6563"/>
                </a:lnTo>
                <a:lnTo>
                  <a:pt x="2016" y="6601"/>
                </a:lnTo>
                <a:lnTo>
                  <a:pt x="2006" y="6640"/>
                </a:lnTo>
                <a:lnTo>
                  <a:pt x="1994" y="6679"/>
                </a:lnTo>
                <a:lnTo>
                  <a:pt x="1975" y="6736"/>
                </a:lnTo>
                <a:lnTo>
                  <a:pt x="1959" y="6794"/>
                </a:lnTo>
                <a:lnTo>
                  <a:pt x="1930" y="6910"/>
                </a:lnTo>
                <a:lnTo>
                  <a:pt x="1874" y="7142"/>
                </a:lnTo>
                <a:lnTo>
                  <a:pt x="1862" y="7181"/>
                </a:lnTo>
                <a:lnTo>
                  <a:pt x="1848" y="7215"/>
                </a:lnTo>
                <a:lnTo>
                  <a:pt x="1833" y="7247"/>
                </a:lnTo>
                <a:lnTo>
                  <a:pt x="1816" y="7275"/>
                </a:lnTo>
                <a:lnTo>
                  <a:pt x="1797" y="7299"/>
                </a:lnTo>
                <a:lnTo>
                  <a:pt x="1777" y="7320"/>
                </a:lnTo>
                <a:lnTo>
                  <a:pt x="1755" y="7337"/>
                </a:lnTo>
                <a:lnTo>
                  <a:pt x="1731" y="7351"/>
                </a:lnTo>
                <a:lnTo>
                  <a:pt x="1705" y="7361"/>
                </a:lnTo>
                <a:lnTo>
                  <a:pt x="1678" y="7368"/>
                </a:lnTo>
                <a:lnTo>
                  <a:pt x="1649" y="7372"/>
                </a:lnTo>
                <a:lnTo>
                  <a:pt x="1618" y="7372"/>
                </a:lnTo>
                <a:lnTo>
                  <a:pt x="1586" y="7368"/>
                </a:lnTo>
                <a:lnTo>
                  <a:pt x="1552" y="7361"/>
                </a:lnTo>
                <a:lnTo>
                  <a:pt x="1516" y="7350"/>
                </a:lnTo>
                <a:lnTo>
                  <a:pt x="1479" y="7335"/>
                </a:lnTo>
                <a:lnTo>
                  <a:pt x="1282" y="7241"/>
                </a:lnTo>
                <a:lnTo>
                  <a:pt x="1102" y="7132"/>
                </a:lnTo>
                <a:lnTo>
                  <a:pt x="1017" y="7071"/>
                </a:lnTo>
                <a:lnTo>
                  <a:pt x="936" y="7007"/>
                </a:lnTo>
                <a:lnTo>
                  <a:pt x="859" y="6939"/>
                </a:lnTo>
                <a:lnTo>
                  <a:pt x="785" y="6867"/>
                </a:lnTo>
                <a:lnTo>
                  <a:pt x="650" y="6713"/>
                </a:lnTo>
                <a:lnTo>
                  <a:pt x="529" y="6545"/>
                </a:lnTo>
                <a:lnTo>
                  <a:pt x="422" y="6364"/>
                </a:lnTo>
                <a:lnTo>
                  <a:pt x="330" y="6170"/>
                </a:lnTo>
                <a:lnTo>
                  <a:pt x="182" y="5767"/>
                </a:lnTo>
                <a:lnTo>
                  <a:pt x="124" y="5565"/>
                </a:lnTo>
                <a:lnTo>
                  <a:pt x="78" y="5363"/>
                </a:lnTo>
                <a:lnTo>
                  <a:pt x="42" y="5162"/>
                </a:lnTo>
                <a:lnTo>
                  <a:pt x="17" y="4960"/>
                </a:lnTo>
                <a:lnTo>
                  <a:pt x="3" y="4758"/>
                </a:lnTo>
                <a:lnTo>
                  <a:pt x="0" y="4556"/>
                </a:lnTo>
                <a:lnTo>
                  <a:pt x="8" y="4355"/>
                </a:lnTo>
                <a:lnTo>
                  <a:pt x="26" y="4153"/>
                </a:lnTo>
                <a:lnTo>
                  <a:pt x="55" y="3952"/>
                </a:lnTo>
                <a:lnTo>
                  <a:pt x="94" y="3751"/>
                </a:lnTo>
                <a:lnTo>
                  <a:pt x="204" y="3350"/>
                </a:lnTo>
                <a:lnTo>
                  <a:pt x="355" y="2951"/>
                </a:lnTo>
                <a:lnTo>
                  <a:pt x="473" y="2695"/>
                </a:lnTo>
                <a:lnTo>
                  <a:pt x="602" y="2450"/>
                </a:lnTo>
                <a:lnTo>
                  <a:pt x="742" y="2218"/>
                </a:lnTo>
                <a:lnTo>
                  <a:pt x="893" y="1998"/>
                </a:lnTo>
                <a:lnTo>
                  <a:pt x="1054" y="1789"/>
                </a:lnTo>
                <a:lnTo>
                  <a:pt x="1226" y="1592"/>
                </a:lnTo>
                <a:lnTo>
                  <a:pt x="1407" y="1407"/>
                </a:lnTo>
                <a:lnTo>
                  <a:pt x="1599" y="1233"/>
                </a:lnTo>
                <a:lnTo>
                  <a:pt x="1801" y="1071"/>
                </a:lnTo>
                <a:lnTo>
                  <a:pt x="2012" y="921"/>
                </a:lnTo>
                <a:lnTo>
                  <a:pt x="2233" y="781"/>
                </a:lnTo>
                <a:lnTo>
                  <a:pt x="2463" y="653"/>
                </a:lnTo>
                <a:lnTo>
                  <a:pt x="2703" y="537"/>
                </a:lnTo>
                <a:lnTo>
                  <a:pt x="2952" y="431"/>
                </a:lnTo>
                <a:lnTo>
                  <a:pt x="3478" y="254"/>
                </a:lnTo>
                <a:lnTo>
                  <a:pt x="3953" y="135"/>
                </a:lnTo>
                <a:lnTo>
                  <a:pt x="4428" y="52"/>
                </a:lnTo>
                <a:lnTo>
                  <a:pt x="4903" y="6"/>
                </a:lnTo>
                <a:lnTo>
                  <a:pt x="5376" y="0"/>
                </a:lnTo>
                <a:lnTo>
                  <a:pt x="5848" y="37"/>
                </a:lnTo>
                <a:lnTo>
                  <a:pt x="6317" y="118"/>
                </a:lnTo>
                <a:lnTo>
                  <a:pt x="6783" y="245"/>
                </a:lnTo>
                <a:lnTo>
                  <a:pt x="7245" y="422"/>
                </a:lnTo>
                <a:lnTo>
                  <a:pt x="7493" y="538"/>
                </a:lnTo>
                <a:lnTo>
                  <a:pt x="7729" y="664"/>
                </a:lnTo>
                <a:lnTo>
                  <a:pt x="7954" y="801"/>
                </a:lnTo>
                <a:lnTo>
                  <a:pt x="8167" y="947"/>
                </a:lnTo>
                <a:lnTo>
                  <a:pt x="8369" y="1103"/>
                </a:lnTo>
                <a:lnTo>
                  <a:pt x="8558" y="1269"/>
                </a:lnTo>
                <a:lnTo>
                  <a:pt x="8735" y="1446"/>
                </a:lnTo>
                <a:lnTo>
                  <a:pt x="8900" y="1632"/>
                </a:lnTo>
                <a:lnTo>
                  <a:pt x="9053" y="1829"/>
                </a:lnTo>
                <a:lnTo>
                  <a:pt x="9193" y="2036"/>
                </a:lnTo>
                <a:lnTo>
                  <a:pt x="9321" y="2254"/>
                </a:lnTo>
                <a:lnTo>
                  <a:pt x="9435" y="2481"/>
                </a:lnTo>
                <a:lnTo>
                  <a:pt x="9537" y="2719"/>
                </a:lnTo>
                <a:lnTo>
                  <a:pt x="9626" y="2968"/>
                </a:lnTo>
                <a:lnTo>
                  <a:pt x="9702" y="3227"/>
                </a:lnTo>
                <a:lnTo>
                  <a:pt x="9765" y="3497"/>
                </a:lnTo>
                <a:lnTo>
                  <a:pt x="9802" y="3716"/>
                </a:lnTo>
                <a:lnTo>
                  <a:pt x="9825" y="3935"/>
                </a:lnTo>
                <a:lnTo>
                  <a:pt x="9836" y="4155"/>
                </a:lnTo>
                <a:lnTo>
                  <a:pt x="9835" y="4374"/>
                </a:lnTo>
                <a:lnTo>
                  <a:pt x="9825" y="4594"/>
                </a:lnTo>
                <a:lnTo>
                  <a:pt x="9806" y="4813"/>
                </a:lnTo>
                <a:lnTo>
                  <a:pt x="9751" y="5252"/>
                </a:lnTo>
                <a:lnTo>
                  <a:pt x="9694" y="5585"/>
                </a:lnTo>
                <a:lnTo>
                  <a:pt x="9620" y="5912"/>
                </a:lnTo>
                <a:lnTo>
                  <a:pt x="9529" y="6232"/>
                </a:lnTo>
                <a:lnTo>
                  <a:pt x="9420" y="6545"/>
                </a:lnTo>
                <a:lnTo>
                  <a:pt x="9291" y="6850"/>
                </a:lnTo>
                <a:lnTo>
                  <a:pt x="9140" y="7146"/>
                </a:lnTo>
                <a:lnTo>
                  <a:pt x="8968" y="7434"/>
                </a:lnTo>
                <a:lnTo>
                  <a:pt x="8772" y="7712"/>
                </a:lnTo>
                <a:lnTo>
                  <a:pt x="8493" y="8045"/>
                </a:lnTo>
                <a:lnTo>
                  <a:pt x="8346" y="8196"/>
                </a:lnTo>
                <a:lnTo>
                  <a:pt x="8193" y="8337"/>
                </a:lnTo>
                <a:lnTo>
                  <a:pt x="8034" y="8467"/>
                </a:lnTo>
                <a:lnTo>
                  <a:pt x="7870" y="8587"/>
                </a:lnTo>
                <a:lnTo>
                  <a:pt x="7701" y="8696"/>
                </a:lnTo>
                <a:lnTo>
                  <a:pt x="7525" y="8795"/>
                </a:lnTo>
                <a:lnTo>
                  <a:pt x="7345" y="8882"/>
                </a:lnTo>
                <a:lnTo>
                  <a:pt x="7159" y="8958"/>
                </a:lnTo>
                <a:lnTo>
                  <a:pt x="6967" y="9023"/>
                </a:lnTo>
                <a:lnTo>
                  <a:pt x="6769" y="9077"/>
                </a:lnTo>
                <a:lnTo>
                  <a:pt x="6566" y="9119"/>
                </a:lnTo>
                <a:lnTo>
                  <a:pt x="6357" y="9150"/>
                </a:lnTo>
                <a:lnTo>
                  <a:pt x="6143" y="9169"/>
                </a:lnTo>
                <a:lnTo>
                  <a:pt x="5922" y="9176"/>
                </a:lnTo>
                <a:lnTo>
                  <a:pt x="5655" y="9165"/>
                </a:lnTo>
                <a:lnTo>
                  <a:pt x="5525" y="9150"/>
                </a:lnTo>
                <a:lnTo>
                  <a:pt x="5398" y="9128"/>
                </a:lnTo>
                <a:lnTo>
                  <a:pt x="5273" y="9099"/>
                </a:lnTo>
                <a:lnTo>
                  <a:pt x="5152" y="9063"/>
                </a:lnTo>
                <a:lnTo>
                  <a:pt x="5034" y="9020"/>
                </a:lnTo>
                <a:lnTo>
                  <a:pt x="4918" y="8970"/>
                </a:lnTo>
                <a:lnTo>
                  <a:pt x="4806" y="8913"/>
                </a:lnTo>
                <a:lnTo>
                  <a:pt x="4697" y="8848"/>
                </a:lnTo>
                <a:lnTo>
                  <a:pt x="4591" y="8776"/>
                </a:lnTo>
                <a:lnTo>
                  <a:pt x="4489" y="8696"/>
                </a:lnTo>
                <a:lnTo>
                  <a:pt x="4390" y="8608"/>
                </a:lnTo>
                <a:lnTo>
                  <a:pt x="4295" y="8512"/>
                </a:lnTo>
                <a:lnTo>
                  <a:pt x="4203" y="8408"/>
                </a:lnTo>
                <a:lnTo>
                  <a:pt x="4115" y="8296"/>
                </a:lnTo>
              </a:path>
            </a:pathLst>
          </a:custGeom>
          <a:solidFill>
            <a:srgbClr val="123563"/>
          </a:solidFill>
          <a:ln>
            <a:noFill/>
          </a:ln>
          <a:effectLst/>
        </p:spPr>
        <p:txBody>
          <a:bodyPr wrap="none" anchor="ctr"/>
          <a:lstStyle/>
          <a:p>
            <a:endParaRPr lang="de-DE" dirty="0">
              <a:latin typeface="BISansOpti"/>
            </a:endParaRPr>
          </a:p>
        </p:txBody>
      </p:sp>
      <p:sp>
        <p:nvSpPr>
          <p:cNvPr id="17" name="Freeform 2"/>
          <p:cNvSpPr>
            <a:spLocks noChangeAspect="1" noChangeArrowheads="1"/>
          </p:cNvSpPr>
          <p:nvPr userDrawn="1"/>
        </p:nvSpPr>
        <p:spPr bwMode="auto">
          <a:xfrm>
            <a:off x="2915299" y="1272056"/>
            <a:ext cx="323999" cy="323999"/>
          </a:xfrm>
          <a:custGeom>
            <a:avLst/>
            <a:gdLst>
              <a:gd name="T0" fmla="*/ 12913 w 14438"/>
              <a:gd name="T1" fmla="*/ 17 h 14438"/>
              <a:gd name="T2" fmla="*/ 13781 w 14438"/>
              <a:gd name="T3" fmla="*/ 392 h 14438"/>
              <a:gd name="T4" fmla="*/ 14305 w 14438"/>
              <a:gd name="T5" fmla="*/ 1097 h 14438"/>
              <a:gd name="T6" fmla="*/ 14432 w 14438"/>
              <a:gd name="T7" fmla="*/ 12796 h 14438"/>
              <a:gd name="T8" fmla="*/ 14249 w 14438"/>
              <a:gd name="T9" fmla="*/ 13460 h 14438"/>
              <a:gd name="T10" fmla="*/ 13703 w 14438"/>
              <a:gd name="T11" fmla="*/ 14108 h 14438"/>
              <a:gd name="T12" fmla="*/ 12896 w 14438"/>
              <a:gd name="T13" fmla="*/ 14422 h 14438"/>
              <a:gd name="T14" fmla="*/ 1127 w 14438"/>
              <a:gd name="T15" fmla="*/ 14320 h 14438"/>
              <a:gd name="T16" fmla="*/ 473 w 14438"/>
              <a:gd name="T17" fmla="*/ 13875 h 14438"/>
              <a:gd name="T18" fmla="*/ 75 w 14438"/>
              <a:gd name="T19" fmla="*/ 13174 h 14438"/>
              <a:gd name="T20" fmla="*/ 19 w 14438"/>
              <a:gd name="T21" fmla="*/ 1490 h 14438"/>
              <a:gd name="T22" fmla="*/ 243 w 14438"/>
              <a:gd name="T23" fmla="*/ 870 h 14438"/>
              <a:gd name="T24" fmla="*/ 717 w 14438"/>
              <a:gd name="T25" fmla="*/ 343 h 14438"/>
              <a:gd name="T26" fmla="*/ 1356 w 14438"/>
              <a:gd name="T27" fmla="*/ 46 h 14438"/>
              <a:gd name="T28" fmla="*/ 11674 w 14438"/>
              <a:gd name="T29" fmla="*/ 6803 h 14438"/>
              <a:gd name="T30" fmla="*/ 11511 w 14438"/>
              <a:gd name="T31" fmla="*/ 8713 h 14438"/>
              <a:gd name="T32" fmla="*/ 10505 w 14438"/>
              <a:gd name="T33" fmla="*/ 10313 h 14438"/>
              <a:gd name="T34" fmla="*/ 8796 w 14438"/>
              <a:gd name="T35" fmla="*/ 11441 h 14438"/>
              <a:gd name="T36" fmla="*/ 6950 w 14438"/>
              <a:gd name="T37" fmla="*/ 11727 h 14438"/>
              <a:gd name="T38" fmla="*/ 5067 w 14438"/>
              <a:gd name="T39" fmla="*/ 11137 h 14438"/>
              <a:gd name="T40" fmla="*/ 3387 w 14438"/>
              <a:gd name="T41" fmla="*/ 9647 h 14438"/>
              <a:gd name="T42" fmla="*/ 2759 w 14438"/>
              <a:gd name="T43" fmla="*/ 7666 h 14438"/>
              <a:gd name="T44" fmla="*/ 1801 w 14438"/>
              <a:gd name="T45" fmla="*/ 6048 h 14438"/>
              <a:gd name="T46" fmla="*/ 1831 w 14438"/>
              <a:gd name="T47" fmla="*/ 12398 h 14438"/>
              <a:gd name="T48" fmla="*/ 1969 w 14438"/>
              <a:gd name="T49" fmla="*/ 12574 h 14438"/>
              <a:gd name="T50" fmla="*/ 2231 w 14438"/>
              <a:gd name="T51" fmla="*/ 12635 h 14438"/>
              <a:gd name="T52" fmla="*/ 12355 w 14438"/>
              <a:gd name="T53" fmla="*/ 12615 h 14438"/>
              <a:gd name="T54" fmla="*/ 12494 w 14438"/>
              <a:gd name="T55" fmla="*/ 12559 h 14438"/>
              <a:gd name="T56" fmla="*/ 12584 w 14438"/>
              <a:gd name="T57" fmla="*/ 12451 h 14438"/>
              <a:gd name="T58" fmla="*/ 12630 w 14438"/>
              <a:gd name="T59" fmla="*/ 12242 h 14438"/>
              <a:gd name="T60" fmla="*/ 7228 w 14438"/>
              <a:gd name="T61" fmla="*/ 10019 h 14438"/>
              <a:gd name="T62" fmla="*/ 8762 w 14438"/>
              <a:gd name="T63" fmla="*/ 9581 h 14438"/>
              <a:gd name="T64" fmla="*/ 9907 w 14438"/>
              <a:gd name="T65" fmla="*/ 8263 h 14438"/>
              <a:gd name="T66" fmla="*/ 10045 w 14438"/>
              <a:gd name="T67" fmla="*/ 6516 h 14438"/>
              <a:gd name="T68" fmla="*/ 9166 w 14438"/>
              <a:gd name="T69" fmla="*/ 5099 h 14438"/>
              <a:gd name="T70" fmla="*/ 7702 w 14438"/>
              <a:gd name="T71" fmla="*/ 4419 h 14438"/>
              <a:gd name="T72" fmla="*/ 6052 w 14438"/>
              <a:gd name="T73" fmla="*/ 4623 h 14438"/>
              <a:gd name="T74" fmla="*/ 4844 w 14438"/>
              <a:gd name="T75" fmla="*/ 5593 h 14438"/>
              <a:gd name="T76" fmla="*/ 4336 w 14438"/>
              <a:gd name="T77" fmla="*/ 7017 h 14438"/>
              <a:gd name="T78" fmla="*/ 4649 w 14438"/>
              <a:gd name="T79" fmla="*/ 8481 h 14438"/>
              <a:gd name="T80" fmla="*/ 5608 w 14438"/>
              <a:gd name="T81" fmla="*/ 9522 h 14438"/>
              <a:gd name="T82" fmla="*/ 6977 w 14438"/>
              <a:gd name="T83" fmla="*/ 10006 h 14438"/>
              <a:gd name="T84" fmla="*/ 9947 w 14438"/>
              <a:gd name="T85" fmla="*/ 4184 h 14438"/>
              <a:gd name="T86" fmla="*/ 10089 w 14438"/>
              <a:gd name="T87" fmla="*/ 4407 h 14438"/>
              <a:gd name="T88" fmla="*/ 10342 w 14438"/>
              <a:gd name="T89" fmla="*/ 4506 h 14438"/>
              <a:gd name="T90" fmla="*/ 12359 w 14438"/>
              <a:gd name="T91" fmla="*/ 4474 h 14438"/>
              <a:gd name="T92" fmla="*/ 12560 w 14438"/>
              <a:gd name="T93" fmla="*/ 4309 h 14438"/>
              <a:gd name="T94" fmla="*/ 12635 w 14438"/>
              <a:gd name="T95" fmla="*/ 4037 h 14438"/>
              <a:gd name="T96" fmla="*/ 12582 w 14438"/>
              <a:gd name="T97" fmla="*/ 2038 h 14438"/>
              <a:gd name="T98" fmla="*/ 12395 w 14438"/>
              <a:gd name="T99" fmla="*/ 1854 h 14438"/>
              <a:gd name="T100" fmla="*/ 10408 w 14438"/>
              <a:gd name="T101" fmla="*/ 1802 h 14438"/>
              <a:gd name="T102" fmla="*/ 10126 w 14438"/>
              <a:gd name="T103" fmla="*/ 1877 h 14438"/>
              <a:gd name="T104" fmla="*/ 9962 w 14438"/>
              <a:gd name="T105" fmla="*/ 2086 h 1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38" h="14438">
                <a:moveTo>
                  <a:pt x="12872" y="0"/>
                </a:moveTo>
                <a:lnTo>
                  <a:pt x="12892" y="10"/>
                </a:lnTo>
                <a:lnTo>
                  <a:pt x="12897" y="12"/>
                </a:lnTo>
                <a:lnTo>
                  <a:pt x="12903" y="14"/>
                </a:lnTo>
                <a:lnTo>
                  <a:pt x="12908" y="16"/>
                </a:lnTo>
                <a:lnTo>
                  <a:pt x="12913" y="17"/>
                </a:lnTo>
                <a:lnTo>
                  <a:pt x="13079" y="54"/>
                </a:lnTo>
                <a:lnTo>
                  <a:pt x="13237" y="102"/>
                </a:lnTo>
                <a:lnTo>
                  <a:pt x="13387" y="160"/>
                </a:lnTo>
                <a:lnTo>
                  <a:pt x="13527" y="227"/>
                </a:lnTo>
                <a:lnTo>
                  <a:pt x="13659" y="305"/>
                </a:lnTo>
                <a:lnTo>
                  <a:pt x="13781" y="392"/>
                </a:lnTo>
                <a:lnTo>
                  <a:pt x="13894" y="488"/>
                </a:lnTo>
                <a:lnTo>
                  <a:pt x="13997" y="594"/>
                </a:lnTo>
                <a:lnTo>
                  <a:pt x="14089" y="707"/>
                </a:lnTo>
                <a:lnTo>
                  <a:pt x="14172" y="829"/>
                </a:lnTo>
                <a:lnTo>
                  <a:pt x="14244" y="959"/>
                </a:lnTo>
                <a:lnTo>
                  <a:pt x="14305" y="1097"/>
                </a:lnTo>
                <a:lnTo>
                  <a:pt x="14355" y="1242"/>
                </a:lnTo>
                <a:lnTo>
                  <a:pt x="14394" y="1394"/>
                </a:lnTo>
                <a:lnTo>
                  <a:pt x="14421" y="1553"/>
                </a:lnTo>
                <a:lnTo>
                  <a:pt x="14437" y="1718"/>
                </a:lnTo>
                <a:lnTo>
                  <a:pt x="14437" y="12716"/>
                </a:lnTo>
                <a:lnTo>
                  <a:pt x="14432" y="12796"/>
                </a:lnTo>
                <a:lnTo>
                  <a:pt x="14424" y="12876"/>
                </a:lnTo>
                <a:lnTo>
                  <a:pt x="14412" y="12955"/>
                </a:lnTo>
                <a:lnTo>
                  <a:pt x="14397" y="13033"/>
                </a:lnTo>
                <a:lnTo>
                  <a:pt x="14358" y="13182"/>
                </a:lnTo>
                <a:lnTo>
                  <a:pt x="14308" y="13325"/>
                </a:lnTo>
                <a:lnTo>
                  <a:pt x="14249" y="13460"/>
                </a:lnTo>
                <a:lnTo>
                  <a:pt x="14179" y="13588"/>
                </a:lnTo>
                <a:lnTo>
                  <a:pt x="14101" y="13709"/>
                </a:lnTo>
                <a:lnTo>
                  <a:pt x="14014" y="13821"/>
                </a:lnTo>
                <a:lnTo>
                  <a:pt x="13918" y="13925"/>
                </a:lnTo>
                <a:lnTo>
                  <a:pt x="13814" y="14021"/>
                </a:lnTo>
                <a:lnTo>
                  <a:pt x="13703" y="14108"/>
                </a:lnTo>
                <a:lnTo>
                  <a:pt x="13584" y="14185"/>
                </a:lnTo>
                <a:lnTo>
                  <a:pt x="13458" y="14253"/>
                </a:lnTo>
                <a:lnTo>
                  <a:pt x="13326" y="14311"/>
                </a:lnTo>
                <a:lnTo>
                  <a:pt x="13189" y="14358"/>
                </a:lnTo>
                <a:lnTo>
                  <a:pt x="13045" y="14396"/>
                </a:lnTo>
                <a:lnTo>
                  <a:pt x="12896" y="14422"/>
                </a:lnTo>
                <a:lnTo>
                  <a:pt x="12743" y="14437"/>
                </a:lnTo>
                <a:lnTo>
                  <a:pt x="1655" y="14437"/>
                </a:lnTo>
                <a:lnTo>
                  <a:pt x="1518" y="14423"/>
                </a:lnTo>
                <a:lnTo>
                  <a:pt x="1384" y="14398"/>
                </a:lnTo>
                <a:lnTo>
                  <a:pt x="1253" y="14364"/>
                </a:lnTo>
                <a:lnTo>
                  <a:pt x="1127" y="14320"/>
                </a:lnTo>
                <a:lnTo>
                  <a:pt x="1004" y="14266"/>
                </a:lnTo>
                <a:lnTo>
                  <a:pt x="887" y="14204"/>
                </a:lnTo>
                <a:lnTo>
                  <a:pt x="774" y="14134"/>
                </a:lnTo>
                <a:lnTo>
                  <a:pt x="668" y="14055"/>
                </a:lnTo>
                <a:lnTo>
                  <a:pt x="567" y="13969"/>
                </a:lnTo>
                <a:lnTo>
                  <a:pt x="473" y="13875"/>
                </a:lnTo>
                <a:lnTo>
                  <a:pt x="387" y="13774"/>
                </a:lnTo>
                <a:lnTo>
                  <a:pt x="307" y="13666"/>
                </a:lnTo>
                <a:lnTo>
                  <a:pt x="236" y="13552"/>
                </a:lnTo>
                <a:lnTo>
                  <a:pt x="173" y="13431"/>
                </a:lnTo>
                <a:lnTo>
                  <a:pt x="119" y="13305"/>
                </a:lnTo>
                <a:lnTo>
                  <a:pt x="75" y="13174"/>
                </a:lnTo>
                <a:lnTo>
                  <a:pt x="55" y="13101"/>
                </a:lnTo>
                <a:lnTo>
                  <a:pt x="36" y="13028"/>
                </a:lnTo>
                <a:lnTo>
                  <a:pt x="0" y="12881"/>
                </a:lnTo>
                <a:lnTo>
                  <a:pt x="0" y="1558"/>
                </a:lnTo>
                <a:lnTo>
                  <a:pt x="13" y="1513"/>
                </a:lnTo>
                <a:lnTo>
                  <a:pt x="19" y="1490"/>
                </a:lnTo>
                <a:lnTo>
                  <a:pt x="24" y="1468"/>
                </a:lnTo>
                <a:lnTo>
                  <a:pt x="55" y="1337"/>
                </a:lnTo>
                <a:lnTo>
                  <a:pt x="92" y="1211"/>
                </a:lnTo>
                <a:lnTo>
                  <a:pt x="136" y="1092"/>
                </a:lnTo>
                <a:lnTo>
                  <a:pt x="186" y="978"/>
                </a:lnTo>
                <a:lnTo>
                  <a:pt x="243" y="870"/>
                </a:lnTo>
                <a:lnTo>
                  <a:pt x="306" y="767"/>
                </a:lnTo>
                <a:lnTo>
                  <a:pt x="375" y="671"/>
                </a:lnTo>
                <a:lnTo>
                  <a:pt x="451" y="580"/>
                </a:lnTo>
                <a:lnTo>
                  <a:pt x="533" y="495"/>
                </a:lnTo>
                <a:lnTo>
                  <a:pt x="622" y="416"/>
                </a:lnTo>
                <a:lnTo>
                  <a:pt x="717" y="343"/>
                </a:lnTo>
                <a:lnTo>
                  <a:pt x="819" y="276"/>
                </a:lnTo>
                <a:lnTo>
                  <a:pt x="927" y="214"/>
                </a:lnTo>
                <a:lnTo>
                  <a:pt x="1042" y="159"/>
                </a:lnTo>
                <a:lnTo>
                  <a:pt x="1163" y="109"/>
                </a:lnTo>
                <a:lnTo>
                  <a:pt x="1291" y="65"/>
                </a:lnTo>
                <a:lnTo>
                  <a:pt x="1356" y="46"/>
                </a:lnTo>
                <a:lnTo>
                  <a:pt x="1422" y="30"/>
                </a:lnTo>
                <a:lnTo>
                  <a:pt x="1554" y="0"/>
                </a:lnTo>
                <a:lnTo>
                  <a:pt x="12872" y="0"/>
                </a:lnTo>
                <a:close/>
                <a:moveTo>
                  <a:pt x="11550" y="6105"/>
                </a:moveTo>
                <a:lnTo>
                  <a:pt x="11623" y="6457"/>
                </a:lnTo>
                <a:lnTo>
                  <a:pt x="11674" y="6803"/>
                </a:lnTo>
                <a:lnTo>
                  <a:pt x="11703" y="7141"/>
                </a:lnTo>
                <a:lnTo>
                  <a:pt x="11710" y="7472"/>
                </a:lnTo>
                <a:lnTo>
                  <a:pt x="11695" y="7794"/>
                </a:lnTo>
                <a:lnTo>
                  <a:pt x="11656" y="8109"/>
                </a:lnTo>
                <a:lnTo>
                  <a:pt x="11595" y="8415"/>
                </a:lnTo>
                <a:lnTo>
                  <a:pt x="11511" y="8713"/>
                </a:lnTo>
                <a:lnTo>
                  <a:pt x="11404" y="9002"/>
                </a:lnTo>
                <a:lnTo>
                  <a:pt x="11272" y="9283"/>
                </a:lnTo>
                <a:lnTo>
                  <a:pt x="11117" y="9554"/>
                </a:lnTo>
                <a:lnTo>
                  <a:pt x="10937" y="9817"/>
                </a:lnTo>
                <a:lnTo>
                  <a:pt x="10733" y="10070"/>
                </a:lnTo>
                <a:lnTo>
                  <a:pt x="10505" y="10313"/>
                </a:lnTo>
                <a:lnTo>
                  <a:pt x="10251" y="10547"/>
                </a:lnTo>
                <a:lnTo>
                  <a:pt x="9972" y="10770"/>
                </a:lnTo>
                <a:lnTo>
                  <a:pt x="9684" y="10973"/>
                </a:lnTo>
                <a:lnTo>
                  <a:pt x="9391" y="11153"/>
                </a:lnTo>
                <a:lnTo>
                  <a:pt x="9095" y="11309"/>
                </a:lnTo>
                <a:lnTo>
                  <a:pt x="8796" y="11441"/>
                </a:lnTo>
                <a:lnTo>
                  <a:pt x="8493" y="11549"/>
                </a:lnTo>
                <a:lnTo>
                  <a:pt x="8189" y="11633"/>
                </a:lnTo>
                <a:lnTo>
                  <a:pt x="7881" y="11693"/>
                </a:lnTo>
                <a:lnTo>
                  <a:pt x="7572" y="11728"/>
                </a:lnTo>
                <a:lnTo>
                  <a:pt x="7262" y="11740"/>
                </a:lnTo>
                <a:lnTo>
                  <a:pt x="6950" y="11727"/>
                </a:lnTo>
                <a:lnTo>
                  <a:pt x="6636" y="11690"/>
                </a:lnTo>
                <a:lnTo>
                  <a:pt x="6323" y="11629"/>
                </a:lnTo>
                <a:lnTo>
                  <a:pt x="6008" y="11543"/>
                </a:lnTo>
                <a:lnTo>
                  <a:pt x="5694" y="11432"/>
                </a:lnTo>
                <a:lnTo>
                  <a:pt x="5380" y="11297"/>
                </a:lnTo>
                <a:lnTo>
                  <a:pt x="5067" y="11137"/>
                </a:lnTo>
                <a:lnTo>
                  <a:pt x="4711" y="10926"/>
                </a:lnTo>
                <a:lnTo>
                  <a:pt x="4386" y="10699"/>
                </a:lnTo>
                <a:lnTo>
                  <a:pt x="4092" y="10457"/>
                </a:lnTo>
                <a:lnTo>
                  <a:pt x="3827" y="10202"/>
                </a:lnTo>
                <a:lnTo>
                  <a:pt x="3592" y="9931"/>
                </a:lnTo>
                <a:lnTo>
                  <a:pt x="3387" y="9647"/>
                </a:lnTo>
                <a:lnTo>
                  <a:pt x="3210" y="9349"/>
                </a:lnTo>
                <a:lnTo>
                  <a:pt x="3063" y="9038"/>
                </a:lnTo>
                <a:lnTo>
                  <a:pt x="2945" y="8714"/>
                </a:lnTo>
                <a:lnTo>
                  <a:pt x="2855" y="8377"/>
                </a:lnTo>
                <a:lnTo>
                  <a:pt x="2793" y="8028"/>
                </a:lnTo>
                <a:lnTo>
                  <a:pt x="2759" y="7666"/>
                </a:lnTo>
                <a:lnTo>
                  <a:pt x="2753" y="7292"/>
                </a:lnTo>
                <a:lnTo>
                  <a:pt x="2774" y="6907"/>
                </a:lnTo>
                <a:lnTo>
                  <a:pt x="2822" y="6510"/>
                </a:lnTo>
                <a:lnTo>
                  <a:pt x="2898" y="6103"/>
                </a:lnTo>
                <a:lnTo>
                  <a:pt x="1801" y="5865"/>
                </a:lnTo>
                <a:lnTo>
                  <a:pt x="1801" y="6048"/>
                </a:lnTo>
                <a:lnTo>
                  <a:pt x="1801" y="11985"/>
                </a:lnTo>
                <a:lnTo>
                  <a:pt x="1802" y="12211"/>
                </a:lnTo>
                <a:lnTo>
                  <a:pt x="1805" y="12263"/>
                </a:lnTo>
                <a:lnTo>
                  <a:pt x="1810" y="12312"/>
                </a:lnTo>
                <a:lnTo>
                  <a:pt x="1819" y="12357"/>
                </a:lnTo>
                <a:lnTo>
                  <a:pt x="1831" y="12398"/>
                </a:lnTo>
                <a:lnTo>
                  <a:pt x="1846" y="12436"/>
                </a:lnTo>
                <a:lnTo>
                  <a:pt x="1864" y="12470"/>
                </a:lnTo>
                <a:lnTo>
                  <a:pt x="1885" y="12501"/>
                </a:lnTo>
                <a:lnTo>
                  <a:pt x="1910" y="12529"/>
                </a:lnTo>
                <a:lnTo>
                  <a:pt x="1938" y="12553"/>
                </a:lnTo>
                <a:lnTo>
                  <a:pt x="1969" y="12574"/>
                </a:lnTo>
                <a:lnTo>
                  <a:pt x="2004" y="12592"/>
                </a:lnTo>
                <a:lnTo>
                  <a:pt x="2042" y="12606"/>
                </a:lnTo>
                <a:lnTo>
                  <a:pt x="2084" y="12618"/>
                </a:lnTo>
                <a:lnTo>
                  <a:pt x="2129" y="12627"/>
                </a:lnTo>
                <a:lnTo>
                  <a:pt x="2178" y="12632"/>
                </a:lnTo>
                <a:lnTo>
                  <a:pt x="2231" y="12635"/>
                </a:lnTo>
                <a:lnTo>
                  <a:pt x="2315" y="12636"/>
                </a:lnTo>
                <a:lnTo>
                  <a:pt x="12118" y="12635"/>
                </a:lnTo>
                <a:lnTo>
                  <a:pt x="12178" y="12634"/>
                </a:lnTo>
                <a:lnTo>
                  <a:pt x="12237" y="12630"/>
                </a:lnTo>
                <a:lnTo>
                  <a:pt x="12296" y="12624"/>
                </a:lnTo>
                <a:lnTo>
                  <a:pt x="12355" y="12615"/>
                </a:lnTo>
                <a:lnTo>
                  <a:pt x="12382" y="12609"/>
                </a:lnTo>
                <a:lnTo>
                  <a:pt x="12407" y="12602"/>
                </a:lnTo>
                <a:lnTo>
                  <a:pt x="12431" y="12593"/>
                </a:lnTo>
                <a:lnTo>
                  <a:pt x="12453" y="12583"/>
                </a:lnTo>
                <a:lnTo>
                  <a:pt x="12474" y="12572"/>
                </a:lnTo>
                <a:lnTo>
                  <a:pt x="12494" y="12559"/>
                </a:lnTo>
                <a:lnTo>
                  <a:pt x="12513" y="12544"/>
                </a:lnTo>
                <a:lnTo>
                  <a:pt x="12530" y="12528"/>
                </a:lnTo>
                <a:lnTo>
                  <a:pt x="12545" y="12511"/>
                </a:lnTo>
                <a:lnTo>
                  <a:pt x="12560" y="12493"/>
                </a:lnTo>
                <a:lnTo>
                  <a:pt x="12573" y="12473"/>
                </a:lnTo>
                <a:lnTo>
                  <a:pt x="12584" y="12451"/>
                </a:lnTo>
                <a:lnTo>
                  <a:pt x="12594" y="12429"/>
                </a:lnTo>
                <a:lnTo>
                  <a:pt x="12602" y="12405"/>
                </a:lnTo>
                <a:lnTo>
                  <a:pt x="12610" y="12380"/>
                </a:lnTo>
                <a:lnTo>
                  <a:pt x="12615" y="12353"/>
                </a:lnTo>
                <a:lnTo>
                  <a:pt x="12624" y="12298"/>
                </a:lnTo>
                <a:lnTo>
                  <a:pt x="12630" y="12242"/>
                </a:lnTo>
                <a:lnTo>
                  <a:pt x="12634" y="12186"/>
                </a:lnTo>
                <a:lnTo>
                  <a:pt x="12635" y="12130"/>
                </a:lnTo>
                <a:lnTo>
                  <a:pt x="12636" y="6023"/>
                </a:lnTo>
                <a:lnTo>
                  <a:pt x="12636" y="5865"/>
                </a:lnTo>
                <a:lnTo>
                  <a:pt x="11550" y="6105"/>
                </a:lnTo>
                <a:close/>
                <a:moveTo>
                  <a:pt x="7228" y="10019"/>
                </a:moveTo>
                <a:lnTo>
                  <a:pt x="7564" y="9978"/>
                </a:lnTo>
                <a:lnTo>
                  <a:pt x="7731" y="9954"/>
                </a:lnTo>
                <a:lnTo>
                  <a:pt x="7897" y="9923"/>
                </a:lnTo>
                <a:lnTo>
                  <a:pt x="8204" y="9839"/>
                </a:lnTo>
                <a:lnTo>
                  <a:pt x="8493" y="9724"/>
                </a:lnTo>
                <a:lnTo>
                  <a:pt x="8762" y="9581"/>
                </a:lnTo>
                <a:lnTo>
                  <a:pt x="9011" y="9412"/>
                </a:lnTo>
                <a:lnTo>
                  <a:pt x="9239" y="9220"/>
                </a:lnTo>
                <a:lnTo>
                  <a:pt x="9443" y="9007"/>
                </a:lnTo>
                <a:lnTo>
                  <a:pt x="9624" y="8775"/>
                </a:lnTo>
                <a:lnTo>
                  <a:pt x="9779" y="8526"/>
                </a:lnTo>
                <a:lnTo>
                  <a:pt x="9907" y="8263"/>
                </a:lnTo>
                <a:lnTo>
                  <a:pt x="10007" y="7988"/>
                </a:lnTo>
                <a:lnTo>
                  <a:pt x="10078" y="7704"/>
                </a:lnTo>
                <a:lnTo>
                  <a:pt x="10119" y="7412"/>
                </a:lnTo>
                <a:lnTo>
                  <a:pt x="10128" y="7115"/>
                </a:lnTo>
                <a:lnTo>
                  <a:pt x="10103" y="6816"/>
                </a:lnTo>
                <a:lnTo>
                  <a:pt x="10045" y="6516"/>
                </a:lnTo>
                <a:lnTo>
                  <a:pt x="9950" y="6218"/>
                </a:lnTo>
                <a:lnTo>
                  <a:pt x="9837" y="5959"/>
                </a:lnTo>
                <a:lnTo>
                  <a:pt x="9700" y="5717"/>
                </a:lnTo>
                <a:lnTo>
                  <a:pt x="9541" y="5493"/>
                </a:lnTo>
                <a:lnTo>
                  <a:pt x="9363" y="5286"/>
                </a:lnTo>
                <a:lnTo>
                  <a:pt x="9166" y="5099"/>
                </a:lnTo>
                <a:lnTo>
                  <a:pt x="8952" y="4931"/>
                </a:lnTo>
                <a:lnTo>
                  <a:pt x="8724" y="4784"/>
                </a:lnTo>
                <a:lnTo>
                  <a:pt x="8484" y="4658"/>
                </a:lnTo>
                <a:lnTo>
                  <a:pt x="8232" y="4555"/>
                </a:lnTo>
                <a:lnTo>
                  <a:pt x="7970" y="4475"/>
                </a:lnTo>
                <a:lnTo>
                  <a:pt x="7702" y="4419"/>
                </a:lnTo>
                <a:lnTo>
                  <a:pt x="7428" y="4387"/>
                </a:lnTo>
                <a:lnTo>
                  <a:pt x="7149" y="4381"/>
                </a:lnTo>
                <a:lnTo>
                  <a:pt x="6869" y="4402"/>
                </a:lnTo>
                <a:lnTo>
                  <a:pt x="6589" y="4450"/>
                </a:lnTo>
                <a:lnTo>
                  <a:pt x="6310" y="4526"/>
                </a:lnTo>
                <a:lnTo>
                  <a:pt x="6052" y="4623"/>
                </a:lnTo>
                <a:lnTo>
                  <a:pt x="5809" y="4741"/>
                </a:lnTo>
                <a:lnTo>
                  <a:pt x="5582" y="4878"/>
                </a:lnTo>
                <a:lnTo>
                  <a:pt x="5371" y="5033"/>
                </a:lnTo>
                <a:lnTo>
                  <a:pt x="5177" y="5205"/>
                </a:lnTo>
                <a:lnTo>
                  <a:pt x="5001" y="5392"/>
                </a:lnTo>
                <a:lnTo>
                  <a:pt x="4844" y="5593"/>
                </a:lnTo>
                <a:lnTo>
                  <a:pt x="4706" y="5807"/>
                </a:lnTo>
                <a:lnTo>
                  <a:pt x="4588" y="6032"/>
                </a:lnTo>
                <a:lnTo>
                  <a:pt x="4492" y="6267"/>
                </a:lnTo>
                <a:lnTo>
                  <a:pt x="4417" y="6510"/>
                </a:lnTo>
                <a:lnTo>
                  <a:pt x="4365" y="6761"/>
                </a:lnTo>
                <a:lnTo>
                  <a:pt x="4336" y="7017"/>
                </a:lnTo>
                <a:lnTo>
                  <a:pt x="4332" y="7278"/>
                </a:lnTo>
                <a:lnTo>
                  <a:pt x="4352" y="7542"/>
                </a:lnTo>
                <a:lnTo>
                  <a:pt x="4399" y="7807"/>
                </a:lnTo>
                <a:lnTo>
                  <a:pt x="4462" y="8041"/>
                </a:lnTo>
                <a:lnTo>
                  <a:pt x="4546" y="8266"/>
                </a:lnTo>
                <a:lnTo>
                  <a:pt x="4649" y="8481"/>
                </a:lnTo>
                <a:lnTo>
                  <a:pt x="4771" y="8686"/>
                </a:lnTo>
                <a:lnTo>
                  <a:pt x="4909" y="8879"/>
                </a:lnTo>
                <a:lnTo>
                  <a:pt x="5062" y="9060"/>
                </a:lnTo>
                <a:lnTo>
                  <a:pt x="5231" y="9228"/>
                </a:lnTo>
                <a:lnTo>
                  <a:pt x="5413" y="9382"/>
                </a:lnTo>
                <a:lnTo>
                  <a:pt x="5608" y="9522"/>
                </a:lnTo>
                <a:lnTo>
                  <a:pt x="5814" y="9646"/>
                </a:lnTo>
                <a:lnTo>
                  <a:pt x="6030" y="9754"/>
                </a:lnTo>
                <a:lnTo>
                  <a:pt x="6256" y="9845"/>
                </a:lnTo>
                <a:lnTo>
                  <a:pt x="6490" y="9918"/>
                </a:lnTo>
                <a:lnTo>
                  <a:pt x="6730" y="9971"/>
                </a:lnTo>
                <a:lnTo>
                  <a:pt x="6977" y="10006"/>
                </a:lnTo>
                <a:lnTo>
                  <a:pt x="7228" y="10019"/>
                </a:lnTo>
                <a:close/>
                <a:moveTo>
                  <a:pt x="9927" y="3148"/>
                </a:moveTo>
                <a:lnTo>
                  <a:pt x="9927" y="4036"/>
                </a:lnTo>
                <a:lnTo>
                  <a:pt x="9930" y="4087"/>
                </a:lnTo>
                <a:lnTo>
                  <a:pt x="9936" y="4137"/>
                </a:lnTo>
                <a:lnTo>
                  <a:pt x="9947" y="4184"/>
                </a:lnTo>
                <a:lnTo>
                  <a:pt x="9962" y="4228"/>
                </a:lnTo>
                <a:lnTo>
                  <a:pt x="9980" y="4270"/>
                </a:lnTo>
                <a:lnTo>
                  <a:pt x="10002" y="4309"/>
                </a:lnTo>
                <a:lnTo>
                  <a:pt x="10028" y="4345"/>
                </a:lnTo>
                <a:lnTo>
                  <a:pt x="10056" y="4378"/>
                </a:lnTo>
                <a:lnTo>
                  <a:pt x="10089" y="4407"/>
                </a:lnTo>
                <a:lnTo>
                  <a:pt x="10124" y="4433"/>
                </a:lnTo>
                <a:lnTo>
                  <a:pt x="10162" y="4455"/>
                </a:lnTo>
                <a:lnTo>
                  <a:pt x="10203" y="4474"/>
                </a:lnTo>
                <a:lnTo>
                  <a:pt x="10247" y="4489"/>
                </a:lnTo>
                <a:lnTo>
                  <a:pt x="10293" y="4500"/>
                </a:lnTo>
                <a:lnTo>
                  <a:pt x="10342" y="4506"/>
                </a:lnTo>
                <a:lnTo>
                  <a:pt x="10393" y="4509"/>
                </a:lnTo>
                <a:lnTo>
                  <a:pt x="12168" y="4509"/>
                </a:lnTo>
                <a:lnTo>
                  <a:pt x="12219" y="4506"/>
                </a:lnTo>
                <a:lnTo>
                  <a:pt x="12268" y="4500"/>
                </a:lnTo>
                <a:lnTo>
                  <a:pt x="12315" y="4489"/>
                </a:lnTo>
                <a:lnTo>
                  <a:pt x="12359" y="4474"/>
                </a:lnTo>
                <a:lnTo>
                  <a:pt x="12400" y="4455"/>
                </a:lnTo>
                <a:lnTo>
                  <a:pt x="12438" y="4433"/>
                </a:lnTo>
                <a:lnTo>
                  <a:pt x="12474" y="4407"/>
                </a:lnTo>
                <a:lnTo>
                  <a:pt x="12506" y="4378"/>
                </a:lnTo>
                <a:lnTo>
                  <a:pt x="12535" y="4345"/>
                </a:lnTo>
                <a:lnTo>
                  <a:pt x="12560" y="4309"/>
                </a:lnTo>
                <a:lnTo>
                  <a:pt x="12583" y="4270"/>
                </a:lnTo>
                <a:lnTo>
                  <a:pt x="12601" y="4229"/>
                </a:lnTo>
                <a:lnTo>
                  <a:pt x="12616" y="4185"/>
                </a:lnTo>
                <a:lnTo>
                  <a:pt x="12626" y="4138"/>
                </a:lnTo>
                <a:lnTo>
                  <a:pt x="12633" y="4088"/>
                </a:lnTo>
                <a:lnTo>
                  <a:pt x="12635" y="4037"/>
                </a:lnTo>
                <a:lnTo>
                  <a:pt x="12635" y="2275"/>
                </a:lnTo>
                <a:lnTo>
                  <a:pt x="12633" y="2222"/>
                </a:lnTo>
                <a:lnTo>
                  <a:pt x="12626" y="2172"/>
                </a:lnTo>
                <a:lnTo>
                  <a:pt x="12615" y="2124"/>
                </a:lnTo>
                <a:lnTo>
                  <a:pt x="12601" y="2080"/>
                </a:lnTo>
                <a:lnTo>
                  <a:pt x="12582" y="2038"/>
                </a:lnTo>
                <a:lnTo>
                  <a:pt x="12560" y="1999"/>
                </a:lnTo>
                <a:lnTo>
                  <a:pt x="12533" y="1963"/>
                </a:lnTo>
                <a:lnTo>
                  <a:pt x="12504" y="1931"/>
                </a:lnTo>
                <a:lnTo>
                  <a:pt x="12471" y="1902"/>
                </a:lnTo>
                <a:lnTo>
                  <a:pt x="12435" y="1876"/>
                </a:lnTo>
                <a:lnTo>
                  <a:pt x="12395" y="1854"/>
                </a:lnTo>
                <a:lnTo>
                  <a:pt x="12353" y="1836"/>
                </a:lnTo>
                <a:lnTo>
                  <a:pt x="12307" y="1821"/>
                </a:lnTo>
                <a:lnTo>
                  <a:pt x="12259" y="1811"/>
                </a:lnTo>
                <a:lnTo>
                  <a:pt x="12208" y="1804"/>
                </a:lnTo>
                <a:lnTo>
                  <a:pt x="12155" y="1802"/>
                </a:lnTo>
                <a:lnTo>
                  <a:pt x="10408" y="1802"/>
                </a:lnTo>
                <a:lnTo>
                  <a:pt x="10354" y="1804"/>
                </a:lnTo>
                <a:lnTo>
                  <a:pt x="10302" y="1811"/>
                </a:lnTo>
                <a:lnTo>
                  <a:pt x="10254" y="1821"/>
                </a:lnTo>
                <a:lnTo>
                  <a:pt x="10208" y="1836"/>
                </a:lnTo>
                <a:lnTo>
                  <a:pt x="10166" y="1855"/>
                </a:lnTo>
                <a:lnTo>
                  <a:pt x="10126" y="1877"/>
                </a:lnTo>
                <a:lnTo>
                  <a:pt x="10090" y="1903"/>
                </a:lnTo>
                <a:lnTo>
                  <a:pt x="10057" y="1933"/>
                </a:lnTo>
                <a:lnTo>
                  <a:pt x="10028" y="1966"/>
                </a:lnTo>
                <a:lnTo>
                  <a:pt x="10002" y="2003"/>
                </a:lnTo>
                <a:lnTo>
                  <a:pt x="9980" y="2043"/>
                </a:lnTo>
                <a:lnTo>
                  <a:pt x="9962" y="2086"/>
                </a:lnTo>
                <a:lnTo>
                  <a:pt x="9947" y="2132"/>
                </a:lnTo>
                <a:lnTo>
                  <a:pt x="9936" y="2182"/>
                </a:lnTo>
                <a:lnTo>
                  <a:pt x="9930" y="2234"/>
                </a:lnTo>
                <a:lnTo>
                  <a:pt x="9927" y="2289"/>
                </a:lnTo>
                <a:lnTo>
                  <a:pt x="9927" y="3148"/>
                </a:lnTo>
                <a:close/>
              </a:path>
            </a:pathLst>
          </a:custGeom>
          <a:solidFill>
            <a:srgbClr val="123563"/>
          </a:solidFill>
          <a:ln>
            <a:noFill/>
          </a:ln>
          <a:effectLst/>
        </p:spPr>
        <p:txBody>
          <a:bodyPr wrap="none" anchor="ctr"/>
          <a:lstStyle/>
          <a:p>
            <a:endParaRPr lang="de-DE" dirty="0">
              <a:latin typeface="BISansOpti"/>
            </a:endParaRPr>
          </a:p>
        </p:txBody>
      </p:sp>
      <p:sp>
        <p:nvSpPr>
          <p:cNvPr id="7" name="Textplatzhalter 6"/>
          <p:cNvSpPr>
            <a:spLocks noGrp="1"/>
          </p:cNvSpPr>
          <p:nvPr>
            <p:ph type="body" sz="quarter" idx="10" hasCustomPrompt="1"/>
          </p:nvPr>
        </p:nvSpPr>
        <p:spPr>
          <a:xfrm>
            <a:off x="7081200" y="259200"/>
            <a:ext cx="1728000" cy="3600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1" i="0" baseline="0">
                <a:solidFill>
                  <a:schemeClr val="accent1"/>
                </a:solidFill>
                <a:latin typeface="BISansOpti"/>
                <a:cs typeface="BISansOpti"/>
              </a:defRPr>
            </a:lvl1p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de-DE" sz="1000" b="1" dirty="0">
                <a:solidFill>
                  <a:srgbClr val="123563"/>
                </a:solidFill>
              </a:rPr>
              <a:t>Company Name</a:t>
            </a:r>
          </a:p>
          <a:p>
            <a:pPr lvl="0"/>
            <a:endParaRPr lang="de-DE" dirty="0"/>
          </a:p>
        </p:txBody>
      </p:sp>
      <p:sp>
        <p:nvSpPr>
          <p:cNvPr id="25" name="Textplatzhalter 6"/>
          <p:cNvSpPr>
            <a:spLocks noGrp="1"/>
          </p:cNvSpPr>
          <p:nvPr>
            <p:ph type="body" sz="quarter" idx="12" hasCustomPrompt="1"/>
          </p:nvPr>
        </p:nvSpPr>
        <p:spPr>
          <a:xfrm>
            <a:off x="7081200" y="713406"/>
            <a:ext cx="1728000" cy="1548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a:t>Street / No.</a:t>
            </a:r>
          </a:p>
        </p:txBody>
      </p:sp>
      <p:sp>
        <p:nvSpPr>
          <p:cNvPr id="26" name="Textplatzhalter 6"/>
          <p:cNvSpPr>
            <a:spLocks noGrp="1"/>
          </p:cNvSpPr>
          <p:nvPr>
            <p:ph type="body" sz="quarter" idx="13" hasCustomPrompt="1"/>
          </p:nvPr>
        </p:nvSpPr>
        <p:spPr>
          <a:xfrm>
            <a:off x="7081200" y="871181"/>
            <a:ext cx="1728000" cy="1548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a:t>Postcode/ Town</a:t>
            </a:r>
          </a:p>
        </p:txBody>
      </p:sp>
      <p:sp>
        <p:nvSpPr>
          <p:cNvPr id="27" name="Textplatzhalter 6"/>
          <p:cNvSpPr>
            <a:spLocks noGrp="1"/>
          </p:cNvSpPr>
          <p:nvPr>
            <p:ph type="body" sz="quarter" idx="14" hasCustomPrompt="1"/>
          </p:nvPr>
        </p:nvSpPr>
        <p:spPr>
          <a:xfrm>
            <a:off x="7441200" y="1097781"/>
            <a:ext cx="1368000" cy="1548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a:t>Telephone number</a:t>
            </a:r>
          </a:p>
        </p:txBody>
      </p:sp>
      <p:sp>
        <p:nvSpPr>
          <p:cNvPr id="19" name="Textfeld 18"/>
          <p:cNvSpPr txBox="1"/>
          <p:nvPr userDrawn="1"/>
        </p:nvSpPr>
        <p:spPr>
          <a:xfrm>
            <a:off x="7081200" y="1097781"/>
            <a:ext cx="186073" cy="153888"/>
          </a:xfrm>
          <a:prstGeom prst="rect">
            <a:avLst/>
          </a:prstGeom>
          <a:noFill/>
        </p:spPr>
        <p:txBody>
          <a:bodyPr wrap="none" lIns="0" tIns="0" rIns="0" bIns="0" rtlCol="0">
            <a:spAutoFit/>
          </a:bodyPr>
          <a:lstStyle/>
          <a:p>
            <a:r>
              <a:rPr lang="de-DE" sz="1000" dirty="0">
                <a:solidFill>
                  <a:srgbClr val="003366"/>
                </a:solidFill>
                <a:latin typeface="BISansOpti"/>
                <a:cs typeface="BISansOpti"/>
              </a:rPr>
              <a:t>Tel:</a:t>
            </a:r>
          </a:p>
        </p:txBody>
      </p:sp>
      <p:sp>
        <p:nvSpPr>
          <p:cNvPr id="28" name="Textplatzhalter 6"/>
          <p:cNvSpPr>
            <a:spLocks noGrp="1"/>
          </p:cNvSpPr>
          <p:nvPr>
            <p:ph type="body" sz="quarter" idx="15" hasCustomPrompt="1"/>
          </p:nvPr>
        </p:nvSpPr>
        <p:spPr>
          <a:xfrm>
            <a:off x="7441200" y="1256400"/>
            <a:ext cx="1368000" cy="1548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a:t>fax machine</a:t>
            </a:r>
          </a:p>
        </p:txBody>
      </p:sp>
      <p:sp>
        <p:nvSpPr>
          <p:cNvPr id="29" name="Textfeld 28"/>
          <p:cNvSpPr txBox="1"/>
          <p:nvPr userDrawn="1"/>
        </p:nvSpPr>
        <p:spPr>
          <a:xfrm>
            <a:off x="7081200" y="1256400"/>
            <a:ext cx="217236" cy="153888"/>
          </a:xfrm>
          <a:prstGeom prst="rect">
            <a:avLst/>
          </a:prstGeom>
          <a:noFill/>
        </p:spPr>
        <p:txBody>
          <a:bodyPr wrap="none" lIns="0" tIns="0" rIns="0" bIns="0" rtlCol="0">
            <a:spAutoFit/>
          </a:bodyPr>
          <a:lstStyle/>
          <a:p>
            <a:r>
              <a:rPr lang="de-DE" sz="1000" dirty="0">
                <a:solidFill>
                  <a:srgbClr val="003366"/>
                </a:solidFill>
                <a:latin typeface="BISansOpti"/>
                <a:cs typeface="BISansOpti"/>
              </a:rPr>
              <a:t>Fax:</a:t>
            </a:r>
          </a:p>
        </p:txBody>
      </p:sp>
      <p:sp>
        <p:nvSpPr>
          <p:cNvPr id="30" name="Textplatzhalter 6"/>
          <p:cNvSpPr>
            <a:spLocks noGrp="1"/>
          </p:cNvSpPr>
          <p:nvPr>
            <p:ph type="body" sz="quarter" idx="16" hasCustomPrompt="1"/>
          </p:nvPr>
        </p:nvSpPr>
        <p:spPr>
          <a:xfrm>
            <a:off x="7081200" y="1478981"/>
            <a:ext cx="1728000" cy="1548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a:t>Email-address</a:t>
            </a:r>
          </a:p>
        </p:txBody>
      </p:sp>
      <p:sp>
        <p:nvSpPr>
          <p:cNvPr id="31" name="Textplatzhalter 6"/>
          <p:cNvSpPr>
            <a:spLocks noGrp="1"/>
          </p:cNvSpPr>
          <p:nvPr>
            <p:ph type="body" sz="quarter" idx="17" hasCustomPrompt="1"/>
          </p:nvPr>
        </p:nvSpPr>
        <p:spPr>
          <a:xfrm>
            <a:off x="7081200" y="1638000"/>
            <a:ext cx="1728000" cy="1548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a:t>Website</a:t>
            </a:r>
          </a:p>
        </p:txBody>
      </p:sp>
      <p:sp>
        <p:nvSpPr>
          <p:cNvPr id="21" name="Textplatzhalter 20"/>
          <p:cNvSpPr>
            <a:spLocks noGrp="1"/>
          </p:cNvSpPr>
          <p:nvPr>
            <p:ph type="body" sz="quarter" idx="18" hasCustomPrompt="1"/>
          </p:nvPr>
        </p:nvSpPr>
        <p:spPr>
          <a:xfrm>
            <a:off x="367200" y="2070000"/>
            <a:ext cx="5374800" cy="354013"/>
          </a:xfrm>
        </p:spPr>
        <p:txBody>
          <a:bodyPr/>
          <a:lstStyle>
            <a:lvl1pPr marL="0" indent="0">
              <a:buNone/>
              <a:defRPr baseline="0">
                <a:solidFill>
                  <a:srgbClr val="003366"/>
                </a:solidFill>
                <a:latin typeface="BISansOpti"/>
                <a:cs typeface="BISansOpti"/>
              </a:defRPr>
            </a:lvl1pPr>
          </a:lstStyle>
          <a:p>
            <a:pPr lvl="0"/>
            <a:r>
              <a:rPr lang="en-GB" noProof="0" dirty="0"/>
              <a:t>Headline for further information:</a:t>
            </a:r>
          </a:p>
        </p:txBody>
      </p:sp>
      <p:sp>
        <p:nvSpPr>
          <p:cNvPr id="33" name="Textplatzhalter 20"/>
          <p:cNvSpPr>
            <a:spLocks noGrp="1"/>
          </p:cNvSpPr>
          <p:nvPr>
            <p:ph type="body" sz="quarter" idx="19" hasCustomPrompt="1"/>
          </p:nvPr>
        </p:nvSpPr>
        <p:spPr>
          <a:xfrm>
            <a:off x="367200" y="2425296"/>
            <a:ext cx="5374800" cy="1411200"/>
          </a:xfrm>
        </p:spPr>
        <p:txBody>
          <a:bodyPr/>
          <a:lstStyle>
            <a:lvl1pPr marL="0" indent="0">
              <a:spcBef>
                <a:spcPts val="0"/>
              </a:spcBef>
              <a:buNone/>
              <a:defRPr sz="1800" baseline="0">
                <a:solidFill>
                  <a:schemeClr val="accent2"/>
                </a:solidFill>
                <a:latin typeface="BISansOpti"/>
                <a:cs typeface="BISansOpti"/>
              </a:defRPr>
            </a:lvl1pPr>
          </a:lstStyle>
          <a:p>
            <a:pPr lvl="0"/>
            <a:r>
              <a:rPr lang="en-GB" noProof="0"/>
              <a:t>Insert your domains here</a:t>
            </a:r>
          </a:p>
        </p:txBody>
      </p:sp>
      <p:pic>
        <p:nvPicPr>
          <p:cNvPr id="32" name="Grafik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19694" y="4416838"/>
            <a:ext cx="1259701" cy="381600"/>
          </a:xfrm>
          <a:prstGeom prst="rect">
            <a:avLst/>
          </a:prstGeom>
        </p:spPr>
      </p:pic>
      <p:sp>
        <p:nvSpPr>
          <p:cNvPr id="3" name="Textplatzhalter 2"/>
          <p:cNvSpPr>
            <a:spLocks noGrp="1"/>
          </p:cNvSpPr>
          <p:nvPr>
            <p:ph type="body" sz="quarter" idx="20" hasCustomPrompt="1"/>
          </p:nvPr>
        </p:nvSpPr>
        <p:spPr>
          <a:xfrm>
            <a:off x="367200" y="4139366"/>
            <a:ext cx="4626000" cy="615553"/>
          </a:xfrm>
        </p:spPr>
        <p:txBody>
          <a:bodyPr>
            <a:noAutofit/>
          </a:bodyPr>
          <a:lstStyle>
            <a:lvl1pPr marL="0" indent="0">
              <a:lnSpc>
                <a:spcPct val="100000"/>
              </a:lnSpc>
              <a:spcBef>
                <a:spcPts val="0"/>
              </a:spcBef>
              <a:buNone/>
              <a:defRPr sz="1000">
                <a:solidFill>
                  <a:srgbClr val="1F497D"/>
                </a:solidFill>
              </a:defRPr>
            </a:lvl1pPr>
            <a:lvl2pPr marL="266700" indent="0">
              <a:buNone/>
              <a:defRPr sz="1000">
                <a:solidFill>
                  <a:srgbClr val="1F497D"/>
                </a:solidFill>
              </a:defRPr>
            </a:lvl2pPr>
            <a:lvl3pPr marL="450850" indent="0">
              <a:buNone/>
              <a:defRPr sz="1000">
                <a:solidFill>
                  <a:srgbClr val="1F497D"/>
                </a:solidFill>
              </a:defRPr>
            </a:lvl3pPr>
            <a:lvl4pPr marL="628650" indent="0">
              <a:buNone/>
              <a:defRPr sz="1000">
                <a:solidFill>
                  <a:srgbClr val="1F497D"/>
                </a:solidFill>
              </a:defRPr>
            </a:lvl4pPr>
            <a:lvl5pPr marL="806450" indent="0">
              <a:buNone/>
              <a:defRPr sz="1000">
                <a:solidFill>
                  <a:srgbClr val="1F497D"/>
                </a:solidFill>
              </a:defRPr>
            </a:lvl5pPr>
          </a:lstStyle>
          <a:p>
            <a:pPr algn="just"/>
            <a:r>
              <a:rPr lang="en-GB" sz="1000" noProof="0" dirty="0">
                <a:solidFill>
                  <a:srgbClr val="1F497D"/>
                </a:solidFill>
                <a:latin typeface="BISansOpti"/>
                <a:cs typeface="BISansOpti"/>
              </a:rPr>
              <a:t>Click to add copyright-text</a:t>
            </a:r>
          </a:p>
        </p:txBody>
      </p:sp>
      <p:sp>
        <p:nvSpPr>
          <p:cNvPr id="5" name="Textplatzhalter 4"/>
          <p:cNvSpPr>
            <a:spLocks noGrp="1"/>
          </p:cNvSpPr>
          <p:nvPr>
            <p:ph type="body" sz="quarter" idx="21" hasCustomPrompt="1"/>
          </p:nvPr>
        </p:nvSpPr>
        <p:spPr>
          <a:xfrm>
            <a:off x="1718268" y="3986222"/>
            <a:ext cx="3274933" cy="153888"/>
          </a:xfrm>
        </p:spPr>
        <p:txBody>
          <a:bodyPr wrap="square">
            <a:spAutoFit/>
          </a:bodyPr>
          <a:lstStyle>
            <a:lvl1pPr marL="0" indent="0">
              <a:buNone/>
              <a:defRPr sz="1000">
                <a:solidFill>
                  <a:srgbClr val="1F497D"/>
                </a:solidFill>
              </a:defRPr>
            </a:lvl1pPr>
            <a:lvl2pPr marL="266700" indent="0">
              <a:buNone/>
              <a:defRPr sz="1000">
                <a:solidFill>
                  <a:srgbClr val="1F497D"/>
                </a:solidFill>
              </a:defRPr>
            </a:lvl2pPr>
            <a:lvl3pPr marL="450850" indent="0">
              <a:buNone/>
              <a:defRPr sz="1000">
                <a:solidFill>
                  <a:srgbClr val="1F497D"/>
                </a:solidFill>
              </a:defRPr>
            </a:lvl3pPr>
            <a:lvl4pPr marL="628650" indent="0">
              <a:buNone/>
              <a:defRPr sz="1000">
                <a:solidFill>
                  <a:srgbClr val="1F497D"/>
                </a:solidFill>
              </a:defRPr>
            </a:lvl4pPr>
            <a:lvl5pPr marL="806450" indent="0">
              <a:buNone/>
              <a:defRPr sz="1000">
                <a:solidFill>
                  <a:srgbClr val="1F497D"/>
                </a:solidFill>
              </a:defRPr>
            </a:lvl5pPr>
          </a:lstStyle>
          <a:p>
            <a:pPr lvl="0"/>
            <a:r>
              <a:rPr lang="en-GB" noProof="0" dirty="0"/>
              <a:t>Click to add year of copyright</a:t>
            </a:r>
          </a:p>
        </p:txBody>
      </p:sp>
    </p:spTree>
    <p:extLst>
      <p:ext uri="{BB962C8B-B14F-4D97-AF65-F5344CB8AC3E}">
        <p14:creationId xmlns:p14="http://schemas.microsoft.com/office/powerpoint/2010/main" val="160041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chart german">
    <p:spTree>
      <p:nvGrpSpPr>
        <p:cNvPr id="1" name=""/>
        <p:cNvGrpSpPr/>
        <p:nvPr/>
      </p:nvGrpSpPr>
      <p:grpSpPr>
        <a:xfrm>
          <a:off x="0" y="0"/>
          <a:ext cx="0" cy="0"/>
          <a:chOff x="0" y="0"/>
          <a:chExt cx="0" cy="0"/>
        </a:xfrm>
      </p:grpSpPr>
      <p:sp>
        <p:nvSpPr>
          <p:cNvPr id="23" name="Rechteck 2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6231" t="19013" b="13976"/>
          <a:stretch/>
        </p:blipFill>
        <p:spPr bwMode="auto">
          <a:xfrm>
            <a:off x="0" y="0"/>
            <a:ext cx="642979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userDrawn="1"/>
        </p:nvCxnSpPr>
        <p:spPr>
          <a:xfrm>
            <a:off x="0"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13" name="Freeform 1"/>
          <p:cNvSpPr>
            <a:spLocks noChangeAspect="1" noChangeArrowheads="1"/>
          </p:cNvSpPr>
          <p:nvPr userDrawn="1"/>
        </p:nvSpPr>
        <p:spPr bwMode="auto">
          <a:xfrm>
            <a:off x="367576" y="1233589"/>
            <a:ext cx="359997" cy="359997"/>
          </a:xfrm>
          <a:custGeom>
            <a:avLst/>
            <a:gdLst>
              <a:gd name="T0" fmla="*/ 19 w 14438"/>
              <a:gd name="T1" fmla="*/ 766 h 14438"/>
              <a:gd name="T2" fmla="*/ 35 w 14438"/>
              <a:gd name="T3" fmla="*/ 713 h 14438"/>
              <a:gd name="T4" fmla="*/ 95 w 14438"/>
              <a:gd name="T5" fmla="*/ 535 h 14438"/>
              <a:gd name="T6" fmla="*/ 182 w 14438"/>
              <a:gd name="T7" fmla="*/ 382 h 14438"/>
              <a:gd name="T8" fmla="*/ 295 w 14438"/>
              <a:gd name="T9" fmla="*/ 253 h 14438"/>
              <a:gd name="T10" fmla="*/ 434 w 14438"/>
              <a:gd name="T11" fmla="*/ 149 h 14438"/>
              <a:gd name="T12" fmla="*/ 598 w 14438"/>
              <a:gd name="T13" fmla="*/ 69 h 14438"/>
              <a:gd name="T14" fmla="*/ 13628 w 14438"/>
              <a:gd name="T15" fmla="*/ 0 h 14438"/>
              <a:gd name="T16" fmla="*/ 13675 w 14438"/>
              <a:gd name="T17" fmla="*/ 24 h 14438"/>
              <a:gd name="T18" fmla="*/ 13780 w 14438"/>
              <a:gd name="T19" fmla="*/ 53 h 14438"/>
              <a:gd name="T20" fmla="*/ 14011 w 14438"/>
              <a:gd name="T21" fmla="*/ 154 h 14438"/>
              <a:gd name="T22" fmla="*/ 14194 w 14438"/>
              <a:gd name="T23" fmla="*/ 297 h 14438"/>
              <a:gd name="T24" fmla="*/ 14328 w 14438"/>
              <a:gd name="T25" fmla="*/ 482 h 14438"/>
              <a:gd name="T26" fmla="*/ 14409 w 14438"/>
              <a:gd name="T27" fmla="*/ 706 h 14438"/>
              <a:gd name="T28" fmla="*/ 14437 w 14438"/>
              <a:gd name="T29" fmla="*/ 966 h 14438"/>
              <a:gd name="T30" fmla="*/ 14420 w 14438"/>
              <a:gd name="T31" fmla="*/ 13674 h 14438"/>
              <a:gd name="T32" fmla="*/ 14331 w 14438"/>
              <a:gd name="T33" fmla="*/ 13951 h 14438"/>
              <a:gd name="T34" fmla="*/ 14175 w 14438"/>
              <a:gd name="T35" fmla="*/ 14172 h 14438"/>
              <a:gd name="T36" fmla="*/ 13956 w 14438"/>
              <a:gd name="T37" fmla="*/ 14330 h 14438"/>
              <a:gd name="T38" fmla="*/ 13681 w 14438"/>
              <a:gd name="T39" fmla="*/ 14419 h 14438"/>
              <a:gd name="T40" fmla="*/ 10100 w 14438"/>
              <a:gd name="T41" fmla="*/ 14436 h 14438"/>
              <a:gd name="T42" fmla="*/ 9952 w 14438"/>
              <a:gd name="T43" fmla="*/ 14430 h 14438"/>
              <a:gd name="T44" fmla="*/ 11610 w 14438"/>
              <a:gd name="T45" fmla="*/ 9040 h 14438"/>
              <a:gd name="T46" fmla="*/ 11676 w 14438"/>
              <a:gd name="T47" fmla="*/ 9035 h 14438"/>
              <a:gd name="T48" fmla="*/ 11714 w 14438"/>
              <a:gd name="T49" fmla="*/ 9022 h 14438"/>
              <a:gd name="T50" fmla="*/ 11742 w 14438"/>
              <a:gd name="T51" fmla="*/ 8998 h 14438"/>
              <a:gd name="T52" fmla="*/ 11764 w 14438"/>
              <a:gd name="T53" fmla="*/ 8961 h 14438"/>
              <a:gd name="T54" fmla="*/ 11778 w 14438"/>
              <a:gd name="T55" fmla="*/ 8907 h 14438"/>
              <a:gd name="T56" fmla="*/ 9941 w 14438"/>
              <a:gd name="T57" fmla="*/ 6760 h 14438"/>
              <a:gd name="T58" fmla="*/ 9960 w 14438"/>
              <a:gd name="T59" fmla="*/ 5621 h 14438"/>
              <a:gd name="T60" fmla="*/ 10017 w 14438"/>
              <a:gd name="T61" fmla="*/ 5333 h 14438"/>
              <a:gd name="T62" fmla="*/ 10120 w 14438"/>
              <a:gd name="T63" fmla="*/ 5080 h 14438"/>
              <a:gd name="T64" fmla="*/ 10272 w 14438"/>
              <a:gd name="T65" fmla="*/ 4871 h 14438"/>
              <a:gd name="T66" fmla="*/ 10468 w 14438"/>
              <a:gd name="T67" fmla="*/ 4711 h 14438"/>
              <a:gd name="T68" fmla="*/ 10705 w 14438"/>
              <a:gd name="T69" fmla="*/ 4604 h 14438"/>
              <a:gd name="T70" fmla="*/ 10979 w 14438"/>
              <a:gd name="T71" fmla="*/ 4553 h 14438"/>
              <a:gd name="T72" fmla="*/ 11951 w 14438"/>
              <a:gd name="T73" fmla="*/ 4524 h 14438"/>
              <a:gd name="T74" fmla="*/ 12121 w 14438"/>
              <a:gd name="T75" fmla="*/ 2250 h 14438"/>
              <a:gd name="T76" fmla="*/ 10259 w 14438"/>
              <a:gd name="T77" fmla="*/ 2251 h 14438"/>
              <a:gd name="T78" fmla="*/ 9557 w 14438"/>
              <a:gd name="T79" fmla="*/ 2358 h 14438"/>
              <a:gd name="T80" fmla="*/ 8930 w 14438"/>
              <a:gd name="T81" fmla="*/ 2653 h 14438"/>
              <a:gd name="T82" fmla="*/ 8449 w 14438"/>
              <a:gd name="T83" fmla="*/ 3073 h 14438"/>
              <a:gd name="T84" fmla="*/ 8169 w 14438"/>
              <a:gd name="T85" fmla="*/ 3441 h 14438"/>
              <a:gd name="T86" fmla="*/ 7901 w 14438"/>
              <a:gd name="T87" fmla="*/ 3976 h 14438"/>
              <a:gd name="T88" fmla="*/ 7695 w 14438"/>
              <a:gd name="T89" fmla="*/ 4854 h 14438"/>
              <a:gd name="T90" fmla="*/ 7660 w 14438"/>
              <a:gd name="T91" fmla="*/ 5883 h 14438"/>
              <a:gd name="T92" fmla="*/ 5871 w 14438"/>
              <a:gd name="T93" fmla="*/ 6766 h 14438"/>
              <a:gd name="T94" fmla="*/ 7656 w 14438"/>
              <a:gd name="T95" fmla="*/ 14428 h 14438"/>
              <a:gd name="T96" fmla="*/ 7590 w 14438"/>
              <a:gd name="T97" fmla="*/ 14436 h 14438"/>
              <a:gd name="T98" fmla="*/ 820 w 14438"/>
              <a:gd name="T99" fmla="*/ 14431 h 14438"/>
              <a:gd name="T100" fmla="*/ 608 w 14438"/>
              <a:gd name="T101" fmla="*/ 14386 h 14438"/>
              <a:gd name="T102" fmla="*/ 418 w 14438"/>
              <a:gd name="T103" fmla="*/ 14292 h 14438"/>
              <a:gd name="T104" fmla="*/ 257 w 14438"/>
              <a:gd name="T105" fmla="*/ 14157 h 14438"/>
              <a:gd name="T106" fmla="*/ 132 w 14438"/>
              <a:gd name="T107" fmla="*/ 13987 h 14438"/>
              <a:gd name="T108" fmla="*/ 48 w 14438"/>
              <a:gd name="T109" fmla="*/ 13788 h 1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8" h="14438">
                <a:moveTo>
                  <a:pt x="0" y="13628"/>
                </a:moveTo>
                <a:lnTo>
                  <a:pt x="0" y="818"/>
                </a:lnTo>
                <a:lnTo>
                  <a:pt x="19" y="766"/>
                </a:lnTo>
                <a:lnTo>
                  <a:pt x="28" y="740"/>
                </a:lnTo>
                <a:lnTo>
                  <a:pt x="32" y="726"/>
                </a:lnTo>
                <a:lnTo>
                  <a:pt x="35" y="713"/>
                </a:lnTo>
                <a:lnTo>
                  <a:pt x="52" y="651"/>
                </a:lnTo>
                <a:lnTo>
                  <a:pt x="72" y="591"/>
                </a:lnTo>
                <a:lnTo>
                  <a:pt x="95" y="535"/>
                </a:lnTo>
                <a:lnTo>
                  <a:pt x="122" y="481"/>
                </a:lnTo>
                <a:lnTo>
                  <a:pt x="150" y="430"/>
                </a:lnTo>
                <a:lnTo>
                  <a:pt x="182" y="382"/>
                </a:lnTo>
                <a:lnTo>
                  <a:pt x="217" y="336"/>
                </a:lnTo>
                <a:lnTo>
                  <a:pt x="255" y="293"/>
                </a:lnTo>
                <a:lnTo>
                  <a:pt x="295" y="253"/>
                </a:lnTo>
                <a:lnTo>
                  <a:pt x="339" y="216"/>
                </a:lnTo>
                <a:lnTo>
                  <a:pt x="385" y="181"/>
                </a:lnTo>
                <a:lnTo>
                  <a:pt x="434" y="149"/>
                </a:lnTo>
                <a:lnTo>
                  <a:pt x="486" y="120"/>
                </a:lnTo>
                <a:lnTo>
                  <a:pt x="541" y="93"/>
                </a:lnTo>
                <a:lnTo>
                  <a:pt x="598" y="69"/>
                </a:lnTo>
                <a:lnTo>
                  <a:pt x="659" y="48"/>
                </a:lnTo>
                <a:lnTo>
                  <a:pt x="818" y="0"/>
                </a:lnTo>
                <a:lnTo>
                  <a:pt x="13628" y="0"/>
                </a:lnTo>
                <a:lnTo>
                  <a:pt x="13659" y="16"/>
                </a:lnTo>
                <a:lnTo>
                  <a:pt x="13667" y="20"/>
                </a:lnTo>
                <a:lnTo>
                  <a:pt x="13675" y="24"/>
                </a:lnTo>
                <a:lnTo>
                  <a:pt x="13684" y="27"/>
                </a:lnTo>
                <a:lnTo>
                  <a:pt x="13692" y="29"/>
                </a:lnTo>
                <a:lnTo>
                  <a:pt x="13780" y="53"/>
                </a:lnTo>
                <a:lnTo>
                  <a:pt x="13862" y="81"/>
                </a:lnTo>
                <a:lnTo>
                  <a:pt x="13939" y="115"/>
                </a:lnTo>
                <a:lnTo>
                  <a:pt x="14011" y="154"/>
                </a:lnTo>
                <a:lnTo>
                  <a:pt x="14078" y="197"/>
                </a:lnTo>
                <a:lnTo>
                  <a:pt x="14139" y="245"/>
                </a:lnTo>
                <a:lnTo>
                  <a:pt x="14194" y="297"/>
                </a:lnTo>
                <a:lnTo>
                  <a:pt x="14245" y="355"/>
                </a:lnTo>
                <a:lnTo>
                  <a:pt x="14289" y="416"/>
                </a:lnTo>
                <a:lnTo>
                  <a:pt x="14328" y="482"/>
                </a:lnTo>
                <a:lnTo>
                  <a:pt x="14361" y="553"/>
                </a:lnTo>
                <a:lnTo>
                  <a:pt x="14388" y="627"/>
                </a:lnTo>
                <a:lnTo>
                  <a:pt x="14409" y="706"/>
                </a:lnTo>
                <a:lnTo>
                  <a:pt x="14425" y="788"/>
                </a:lnTo>
                <a:lnTo>
                  <a:pt x="14434" y="875"/>
                </a:lnTo>
                <a:lnTo>
                  <a:pt x="14437" y="966"/>
                </a:lnTo>
                <a:lnTo>
                  <a:pt x="14437" y="13462"/>
                </a:lnTo>
                <a:lnTo>
                  <a:pt x="14433" y="13571"/>
                </a:lnTo>
                <a:lnTo>
                  <a:pt x="14420" y="13674"/>
                </a:lnTo>
                <a:lnTo>
                  <a:pt x="14398" y="13772"/>
                </a:lnTo>
                <a:lnTo>
                  <a:pt x="14369" y="13864"/>
                </a:lnTo>
                <a:lnTo>
                  <a:pt x="14331" y="13951"/>
                </a:lnTo>
                <a:lnTo>
                  <a:pt x="14286" y="14031"/>
                </a:lnTo>
                <a:lnTo>
                  <a:pt x="14234" y="14105"/>
                </a:lnTo>
                <a:lnTo>
                  <a:pt x="14175" y="14172"/>
                </a:lnTo>
                <a:lnTo>
                  <a:pt x="14108" y="14232"/>
                </a:lnTo>
                <a:lnTo>
                  <a:pt x="14035" y="14284"/>
                </a:lnTo>
                <a:lnTo>
                  <a:pt x="13956" y="14330"/>
                </a:lnTo>
                <a:lnTo>
                  <a:pt x="13870" y="14368"/>
                </a:lnTo>
                <a:lnTo>
                  <a:pt x="13779" y="14397"/>
                </a:lnTo>
                <a:lnTo>
                  <a:pt x="13681" y="14419"/>
                </a:lnTo>
                <a:lnTo>
                  <a:pt x="13579" y="14432"/>
                </a:lnTo>
                <a:lnTo>
                  <a:pt x="13471" y="14437"/>
                </a:lnTo>
                <a:lnTo>
                  <a:pt x="10100" y="14436"/>
                </a:lnTo>
                <a:lnTo>
                  <a:pt x="10063" y="14435"/>
                </a:lnTo>
                <a:lnTo>
                  <a:pt x="10026" y="14434"/>
                </a:lnTo>
                <a:lnTo>
                  <a:pt x="9952" y="14430"/>
                </a:lnTo>
                <a:lnTo>
                  <a:pt x="9952" y="9038"/>
                </a:lnTo>
                <a:lnTo>
                  <a:pt x="10115" y="9038"/>
                </a:lnTo>
                <a:lnTo>
                  <a:pt x="11610" y="9040"/>
                </a:lnTo>
                <a:lnTo>
                  <a:pt x="11646" y="9039"/>
                </a:lnTo>
                <a:lnTo>
                  <a:pt x="11661" y="9038"/>
                </a:lnTo>
                <a:lnTo>
                  <a:pt x="11676" y="9035"/>
                </a:lnTo>
                <a:lnTo>
                  <a:pt x="11690" y="9032"/>
                </a:lnTo>
                <a:lnTo>
                  <a:pt x="11702" y="9027"/>
                </a:lnTo>
                <a:lnTo>
                  <a:pt x="11714" y="9022"/>
                </a:lnTo>
                <a:lnTo>
                  <a:pt x="11724" y="9015"/>
                </a:lnTo>
                <a:lnTo>
                  <a:pt x="11734" y="9007"/>
                </a:lnTo>
                <a:lnTo>
                  <a:pt x="11742" y="8998"/>
                </a:lnTo>
                <a:lnTo>
                  <a:pt x="11750" y="8987"/>
                </a:lnTo>
                <a:lnTo>
                  <a:pt x="11757" y="8975"/>
                </a:lnTo>
                <a:lnTo>
                  <a:pt x="11764" y="8961"/>
                </a:lnTo>
                <a:lnTo>
                  <a:pt x="11769" y="8945"/>
                </a:lnTo>
                <a:lnTo>
                  <a:pt x="11774" y="8927"/>
                </a:lnTo>
                <a:lnTo>
                  <a:pt x="11778" y="8907"/>
                </a:lnTo>
                <a:lnTo>
                  <a:pt x="12106" y="7266"/>
                </a:lnTo>
                <a:lnTo>
                  <a:pt x="12201" y="6760"/>
                </a:lnTo>
                <a:lnTo>
                  <a:pt x="9941" y="6760"/>
                </a:lnTo>
                <a:lnTo>
                  <a:pt x="9944" y="5817"/>
                </a:lnTo>
                <a:lnTo>
                  <a:pt x="9950" y="5719"/>
                </a:lnTo>
                <a:lnTo>
                  <a:pt x="9960" y="5621"/>
                </a:lnTo>
                <a:lnTo>
                  <a:pt x="9976" y="5523"/>
                </a:lnTo>
                <a:lnTo>
                  <a:pt x="9994" y="5427"/>
                </a:lnTo>
                <a:lnTo>
                  <a:pt x="10017" y="5333"/>
                </a:lnTo>
                <a:lnTo>
                  <a:pt x="10046" y="5244"/>
                </a:lnTo>
                <a:lnTo>
                  <a:pt x="10080" y="5159"/>
                </a:lnTo>
                <a:lnTo>
                  <a:pt x="10120" y="5080"/>
                </a:lnTo>
                <a:lnTo>
                  <a:pt x="10166" y="5005"/>
                </a:lnTo>
                <a:lnTo>
                  <a:pt x="10216" y="4936"/>
                </a:lnTo>
                <a:lnTo>
                  <a:pt x="10272" y="4871"/>
                </a:lnTo>
                <a:lnTo>
                  <a:pt x="10332" y="4812"/>
                </a:lnTo>
                <a:lnTo>
                  <a:pt x="10398" y="4759"/>
                </a:lnTo>
                <a:lnTo>
                  <a:pt x="10468" y="4711"/>
                </a:lnTo>
                <a:lnTo>
                  <a:pt x="10542" y="4669"/>
                </a:lnTo>
                <a:lnTo>
                  <a:pt x="10621" y="4633"/>
                </a:lnTo>
                <a:lnTo>
                  <a:pt x="10705" y="4604"/>
                </a:lnTo>
                <a:lnTo>
                  <a:pt x="10792" y="4580"/>
                </a:lnTo>
                <a:lnTo>
                  <a:pt x="10884" y="4563"/>
                </a:lnTo>
                <a:lnTo>
                  <a:pt x="10979" y="4553"/>
                </a:lnTo>
                <a:lnTo>
                  <a:pt x="11222" y="4539"/>
                </a:lnTo>
                <a:lnTo>
                  <a:pt x="11465" y="4532"/>
                </a:lnTo>
                <a:lnTo>
                  <a:pt x="11951" y="4524"/>
                </a:lnTo>
                <a:lnTo>
                  <a:pt x="12187" y="4524"/>
                </a:lnTo>
                <a:lnTo>
                  <a:pt x="12187" y="2254"/>
                </a:lnTo>
                <a:lnTo>
                  <a:pt x="12121" y="2250"/>
                </a:lnTo>
                <a:lnTo>
                  <a:pt x="12092" y="2249"/>
                </a:lnTo>
                <a:lnTo>
                  <a:pt x="12064" y="2248"/>
                </a:lnTo>
                <a:lnTo>
                  <a:pt x="10259" y="2251"/>
                </a:lnTo>
                <a:lnTo>
                  <a:pt x="10017" y="2266"/>
                </a:lnTo>
                <a:lnTo>
                  <a:pt x="9783" y="2301"/>
                </a:lnTo>
                <a:lnTo>
                  <a:pt x="9557" y="2358"/>
                </a:lnTo>
                <a:lnTo>
                  <a:pt x="9339" y="2435"/>
                </a:lnTo>
                <a:lnTo>
                  <a:pt x="9130" y="2533"/>
                </a:lnTo>
                <a:lnTo>
                  <a:pt x="8930" y="2653"/>
                </a:lnTo>
                <a:lnTo>
                  <a:pt x="8740" y="2794"/>
                </a:lnTo>
                <a:lnTo>
                  <a:pt x="8559" y="2958"/>
                </a:lnTo>
                <a:lnTo>
                  <a:pt x="8449" y="3073"/>
                </a:lnTo>
                <a:lnTo>
                  <a:pt x="8348" y="3193"/>
                </a:lnTo>
                <a:lnTo>
                  <a:pt x="8254" y="3315"/>
                </a:lnTo>
                <a:lnTo>
                  <a:pt x="8169" y="3441"/>
                </a:lnTo>
                <a:lnTo>
                  <a:pt x="8091" y="3570"/>
                </a:lnTo>
                <a:lnTo>
                  <a:pt x="8021" y="3703"/>
                </a:lnTo>
                <a:lnTo>
                  <a:pt x="7901" y="3976"/>
                </a:lnTo>
                <a:lnTo>
                  <a:pt x="7808" y="4259"/>
                </a:lnTo>
                <a:lnTo>
                  <a:pt x="7740" y="4553"/>
                </a:lnTo>
                <a:lnTo>
                  <a:pt x="7695" y="4854"/>
                </a:lnTo>
                <a:lnTo>
                  <a:pt x="7670" y="5164"/>
                </a:lnTo>
                <a:lnTo>
                  <a:pt x="7660" y="5523"/>
                </a:lnTo>
                <a:lnTo>
                  <a:pt x="7660" y="5883"/>
                </a:lnTo>
                <a:lnTo>
                  <a:pt x="7665" y="6603"/>
                </a:lnTo>
                <a:lnTo>
                  <a:pt x="7665" y="6766"/>
                </a:lnTo>
                <a:lnTo>
                  <a:pt x="5871" y="6766"/>
                </a:lnTo>
                <a:lnTo>
                  <a:pt x="5871" y="9041"/>
                </a:lnTo>
                <a:lnTo>
                  <a:pt x="7656" y="9041"/>
                </a:lnTo>
                <a:lnTo>
                  <a:pt x="7656" y="14428"/>
                </a:lnTo>
                <a:lnTo>
                  <a:pt x="7616" y="14433"/>
                </a:lnTo>
                <a:lnTo>
                  <a:pt x="7598" y="14435"/>
                </a:lnTo>
                <a:lnTo>
                  <a:pt x="7590" y="14436"/>
                </a:lnTo>
                <a:lnTo>
                  <a:pt x="7581" y="14436"/>
                </a:lnTo>
                <a:lnTo>
                  <a:pt x="895" y="14434"/>
                </a:lnTo>
                <a:lnTo>
                  <a:pt x="820" y="14431"/>
                </a:lnTo>
                <a:lnTo>
                  <a:pt x="748" y="14422"/>
                </a:lnTo>
                <a:lnTo>
                  <a:pt x="677" y="14407"/>
                </a:lnTo>
                <a:lnTo>
                  <a:pt x="608" y="14386"/>
                </a:lnTo>
                <a:lnTo>
                  <a:pt x="542" y="14360"/>
                </a:lnTo>
                <a:lnTo>
                  <a:pt x="479" y="14328"/>
                </a:lnTo>
                <a:lnTo>
                  <a:pt x="418" y="14292"/>
                </a:lnTo>
                <a:lnTo>
                  <a:pt x="361" y="14252"/>
                </a:lnTo>
                <a:lnTo>
                  <a:pt x="307" y="14207"/>
                </a:lnTo>
                <a:lnTo>
                  <a:pt x="257" y="14157"/>
                </a:lnTo>
                <a:lnTo>
                  <a:pt x="211" y="14104"/>
                </a:lnTo>
                <a:lnTo>
                  <a:pt x="169" y="14047"/>
                </a:lnTo>
                <a:lnTo>
                  <a:pt x="132" y="13987"/>
                </a:lnTo>
                <a:lnTo>
                  <a:pt x="99" y="13923"/>
                </a:lnTo>
                <a:lnTo>
                  <a:pt x="71" y="13857"/>
                </a:lnTo>
                <a:lnTo>
                  <a:pt x="48" y="13788"/>
                </a:lnTo>
                <a:lnTo>
                  <a:pt x="0" y="13628"/>
                </a:lnTo>
              </a:path>
            </a:pathLst>
          </a:custGeom>
          <a:solidFill>
            <a:schemeClr val="accent1"/>
          </a:solidFill>
          <a:ln>
            <a:noFill/>
          </a:ln>
          <a:effectLst/>
        </p:spPr>
        <p:txBody>
          <a:bodyPr wrap="none" anchor="ctr"/>
          <a:lstStyle/>
          <a:p>
            <a:endParaRPr lang="de-DE" dirty="0">
              <a:solidFill>
                <a:srgbClr val="123563"/>
              </a:solidFill>
              <a:latin typeface="BISansOpti"/>
            </a:endParaRPr>
          </a:p>
        </p:txBody>
      </p:sp>
      <p:sp>
        <p:nvSpPr>
          <p:cNvPr id="14" name="Freeform 2"/>
          <p:cNvSpPr>
            <a:spLocks noChangeAspect="1" noChangeArrowheads="1"/>
          </p:cNvSpPr>
          <p:nvPr userDrawn="1"/>
        </p:nvSpPr>
        <p:spPr bwMode="auto">
          <a:xfrm>
            <a:off x="1020233" y="1260552"/>
            <a:ext cx="396000" cy="323404"/>
          </a:xfrm>
          <a:custGeom>
            <a:avLst/>
            <a:gdLst>
              <a:gd name="T0" fmla="*/ 2302 w 14384"/>
              <a:gd name="T1" fmla="*/ 10229 h 11746"/>
              <a:gd name="T2" fmla="*/ 4222 w 14384"/>
              <a:gd name="T3" fmla="*/ 9176 h 11746"/>
              <a:gd name="T4" fmla="*/ 3544 w 14384"/>
              <a:gd name="T5" fmla="*/ 9052 h 11746"/>
              <a:gd name="T6" fmla="*/ 2627 w 14384"/>
              <a:gd name="T7" fmla="*/ 8581 h 11746"/>
              <a:gd name="T8" fmla="*/ 2100 w 14384"/>
              <a:gd name="T9" fmla="*/ 8065 h 11746"/>
              <a:gd name="T10" fmla="*/ 1633 w 14384"/>
              <a:gd name="T11" fmla="*/ 7227 h 11746"/>
              <a:gd name="T12" fmla="*/ 1622 w 14384"/>
              <a:gd name="T13" fmla="*/ 7169 h 11746"/>
              <a:gd name="T14" fmla="*/ 1631 w 14384"/>
              <a:gd name="T15" fmla="*/ 7150 h 11746"/>
              <a:gd name="T16" fmla="*/ 1654 w 14384"/>
              <a:gd name="T17" fmla="*/ 7142 h 11746"/>
              <a:gd name="T18" fmla="*/ 1884 w 14384"/>
              <a:gd name="T19" fmla="*/ 7165 h 11746"/>
              <a:gd name="T20" fmla="*/ 2540 w 14384"/>
              <a:gd name="T21" fmla="*/ 7153 h 11746"/>
              <a:gd name="T22" fmla="*/ 2848 w 14384"/>
              <a:gd name="T23" fmla="*/ 7095 h 11746"/>
              <a:gd name="T24" fmla="*/ 1895 w 14384"/>
              <a:gd name="T25" fmla="*/ 6602 h 11746"/>
              <a:gd name="T26" fmla="*/ 974 w 14384"/>
              <a:gd name="T27" fmla="*/ 5689 h 11746"/>
              <a:gd name="T28" fmla="*/ 567 w 14384"/>
              <a:gd name="T29" fmla="*/ 4595 h 11746"/>
              <a:gd name="T30" fmla="*/ 1040 w 14384"/>
              <a:gd name="T31" fmla="*/ 4344 h 11746"/>
              <a:gd name="T32" fmla="*/ 1878 w 14384"/>
              <a:gd name="T33" fmla="*/ 4497 h 11746"/>
              <a:gd name="T34" fmla="*/ 1298 w 14384"/>
              <a:gd name="T35" fmla="*/ 3967 h 11746"/>
              <a:gd name="T36" fmla="*/ 726 w 14384"/>
              <a:gd name="T37" fmla="*/ 2940 h 11746"/>
              <a:gd name="T38" fmla="*/ 592 w 14384"/>
              <a:gd name="T39" fmla="*/ 1831 h 11746"/>
              <a:gd name="T40" fmla="*/ 824 w 14384"/>
              <a:gd name="T41" fmla="*/ 868 h 11746"/>
              <a:gd name="T42" fmla="*/ 964 w 14384"/>
              <a:gd name="T43" fmla="*/ 589 h 11746"/>
              <a:gd name="T44" fmla="*/ 983 w 14384"/>
              <a:gd name="T45" fmla="*/ 577 h 11746"/>
              <a:gd name="T46" fmla="*/ 1005 w 14384"/>
              <a:gd name="T47" fmla="*/ 584 h 11746"/>
              <a:gd name="T48" fmla="*/ 1596 w 14384"/>
              <a:gd name="T49" fmla="*/ 1214 h 11746"/>
              <a:gd name="T50" fmla="*/ 4660 w 14384"/>
              <a:gd name="T51" fmla="*/ 3154 h 11746"/>
              <a:gd name="T52" fmla="*/ 6964 w 14384"/>
              <a:gd name="T53" fmla="*/ 3640 h 11746"/>
              <a:gd name="T54" fmla="*/ 7045 w 14384"/>
              <a:gd name="T55" fmla="*/ 3637 h 11746"/>
              <a:gd name="T56" fmla="*/ 7063 w 14384"/>
              <a:gd name="T57" fmla="*/ 3624 h 11746"/>
              <a:gd name="T58" fmla="*/ 7074 w 14384"/>
              <a:gd name="T59" fmla="*/ 3590 h 11746"/>
              <a:gd name="T60" fmla="*/ 7020 w 14384"/>
              <a:gd name="T61" fmla="*/ 2949 h 11746"/>
              <a:gd name="T62" fmla="*/ 7333 w 14384"/>
              <a:gd name="T63" fmla="*/ 1628 h 11746"/>
              <a:gd name="T64" fmla="*/ 8184 w 14384"/>
              <a:gd name="T65" fmla="*/ 606 h 11746"/>
              <a:gd name="T66" fmla="*/ 9383 w 14384"/>
              <a:gd name="T67" fmla="*/ 70 h 11746"/>
              <a:gd name="T68" fmla="*/ 10325 w 14384"/>
              <a:gd name="T69" fmla="*/ 15 h 11746"/>
              <a:gd name="T70" fmla="*/ 11198 w 14384"/>
              <a:gd name="T71" fmla="*/ 263 h 11746"/>
              <a:gd name="T72" fmla="*/ 11995 w 14384"/>
              <a:gd name="T73" fmla="*/ 807 h 11746"/>
              <a:gd name="T74" fmla="*/ 12123 w 14384"/>
              <a:gd name="T75" fmla="*/ 892 h 11746"/>
              <a:gd name="T76" fmla="*/ 12231 w 14384"/>
              <a:gd name="T77" fmla="*/ 915 h 11746"/>
              <a:gd name="T78" fmla="*/ 12744 w 14384"/>
              <a:gd name="T79" fmla="*/ 787 h 11746"/>
              <a:gd name="T80" fmla="*/ 13860 w 14384"/>
              <a:gd name="T81" fmla="*/ 315 h 11746"/>
              <a:gd name="T82" fmla="*/ 13966 w 14384"/>
              <a:gd name="T83" fmla="*/ 263 h 11746"/>
              <a:gd name="T84" fmla="*/ 13995 w 14384"/>
              <a:gd name="T85" fmla="*/ 269 h 11746"/>
              <a:gd name="T86" fmla="*/ 13527 w 14384"/>
              <a:gd name="T87" fmla="*/ 1148 h 11746"/>
              <a:gd name="T88" fmla="*/ 12830 w 14384"/>
              <a:gd name="T89" fmla="*/ 1838 h 11746"/>
              <a:gd name="T90" fmla="*/ 13292 w 14384"/>
              <a:gd name="T91" fmla="*/ 1763 h 11746"/>
              <a:gd name="T92" fmla="*/ 13785 w 14384"/>
              <a:gd name="T93" fmla="*/ 1631 h 11746"/>
              <a:gd name="T94" fmla="*/ 14219 w 14384"/>
              <a:gd name="T95" fmla="*/ 1479 h 11746"/>
              <a:gd name="T96" fmla="*/ 14275 w 14384"/>
              <a:gd name="T97" fmla="*/ 1604 h 11746"/>
              <a:gd name="T98" fmla="*/ 13501 w 14384"/>
              <a:gd name="T99" fmla="*/ 2473 h 11746"/>
              <a:gd name="T100" fmla="*/ 13009 w 14384"/>
              <a:gd name="T101" fmla="*/ 2877 h 11746"/>
              <a:gd name="T102" fmla="*/ 12970 w 14384"/>
              <a:gd name="T103" fmla="*/ 2930 h 11746"/>
              <a:gd name="T104" fmla="*/ 12953 w 14384"/>
              <a:gd name="T105" fmla="*/ 2990 h 11746"/>
              <a:gd name="T106" fmla="*/ 12687 w 14384"/>
              <a:gd name="T107" fmla="*/ 5388 h 11746"/>
              <a:gd name="T108" fmla="*/ 10923 w 14384"/>
              <a:gd name="T109" fmla="*/ 8821 h 11746"/>
              <a:gd name="T110" fmla="*/ 8211 w 14384"/>
              <a:gd name="T111" fmla="*/ 10949 h 11746"/>
              <a:gd name="T112" fmla="*/ 4606 w 14384"/>
              <a:gd name="T113" fmla="*/ 11745 h 11746"/>
              <a:gd name="T114" fmla="*/ 819 w 14384"/>
              <a:gd name="T115" fmla="*/ 10882 h 1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4" h="11746">
                <a:moveTo>
                  <a:pt x="0" y="10417"/>
                </a:moveTo>
                <a:lnTo>
                  <a:pt x="600" y="10448"/>
                </a:lnTo>
                <a:lnTo>
                  <a:pt x="1183" y="10428"/>
                </a:lnTo>
                <a:lnTo>
                  <a:pt x="1751" y="10355"/>
                </a:lnTo>
                <a:lnTo>
                  <a:pt x="2302" y="10229"/>
                </a:lnTo>
                <a:lnTo>
                  <a:pt x="2839" y="10049"/>
                </a:lnTo>
                <a:lnTo>
                  <a:pt x="3362" y="9816"/>
                </a:lnTo>
                <a:lnTo>
                  <a:pt x="3872" y="9528"/>
                </a:lnTo>
                <a:lnTo>
                  <a:pt x="4370" y="9184"/>
                </a:lnTo>
                <a:lnTo>
                  <a:pt x="4222" y="9176"/>
                </a:lnTo>
                <a:lnTo>
                  <a:pt x="4079" y="9163"/>
                </a:lnTo>
                <a:lnTo>
                  <a:pt x="3940" y="9144"/>
                </a:lnTo>
                <a:lnTo>
                  <a:pt x="3805" y="9120"/>
                </a:lnTo>
                <a:lnTo>
                  <a:pt x="3674" y="9089"/>
                </a:lnTo>
                <a:lnTo>
                  <a:pt x="3544" y="9052"/>
                </a:lnTo>
                <a:lnTo>
                  <a:pt x="3418" y="9010"/>
                </a:lnTo>
                <a:lnTo>
                  <a:pt x="3293" y="8960"/>
                </a:lnTo>
                <a:lnTo>
                  <a:pt x="3010" y="8825"/>
                </a:lnTo>
                <a:lnTo>
                  <a:pt x="2749" y="8667"/>
                </a:lnTo>
                <a:lnTo>
                  <a:pt x="2627" y="8581"/>
                </a:lnTo>
                <a:lnTo>
                  <a:pt x="2511" y="8488"/>
                </a:lnTo>
                <a:lnTo>
                  <a:pt x="2400" y="8391"/>
                </a:lnTo>
                <a:lnTo>
                  <a:pt x="2294" y="8288"/>
                </a:lnTo>
                <a:lnTo>
                  <a:pt x="2195" y="8179"/>
                </a:lnTo>
                <a:lnTo>
                  <a:pt x="2100" y="8065"/>
                </a:lnTo>
                <a:lnTo>
                  <a:pt x="2012" y="7946"/>
                </a:lnTo>
                <a:lnTo>
                  <a:pt x="1928" y="7822"/>
                </a:lnTo>
                <a:lnTo>
                  <a:pt x="1778" y="7557"/>
                </a:lnTo>
                <a:lnTo>
                  <a:pt x="1650" y="7271"/>
                </a:lnTo>
                <a:lnTo>
                  <a:pt x="1633" y="7227"/>
                </a:lnTo>
                <a:lnTo>
                  <a:pt x="1628" y="7209"/>
                </a:lnTo>
                <a:lnTo>
                  <a:pt x="1624" y="7194"/>
                </a:lnTo>
                <a:lnTo>
                  <a:pt x="1622" y="7180"/>
                </a:lnTo>
                <a:lnTo>
                  <a:pt x="1621" y="7175"/>
                </a:lnTo>
                <a:lnTo>
                  <a:pt x="1622" y="7169"/>
                </a:lnTo>
                <a:lnTo>
                  <a:pt x="1622" y="7164"/>
                </a:lnTo>
                <a:lnTo>
                  <a:pt x="1624" y="7160"/>
                </a:lnTo>
                <a:lnTo>
                  <a:pt x="1625" y="7156"/>
                </a:lnTo>
                <a:lnTo>
                  <a:pt x="1628" y="7153"/>
                </a:lnTo>
                <a:lnTo>
                  <a:pt x="1631" y="7150"/>
                </a:lnTo>
                <a:lnTo>
                  <a:pt x="1634" y="7148"/>
                </a:lnTo>
                <a:lnTo>
                  <a:pt x="1638" y="7146"/>
                </a:lnTo>
                <a:lnTo>
                  <a:pt x="1643" y="7144"/>
                </a:lnTo>
                <a:lnTo>
                  <a:pt x="1648" y="7143"/>
                </a:lnTo>
                <a:lnTo>
                  <a:pt x="1654" y="7142"/>
                </a:lnTo>
                <a:lnTo>
                  <a:pt x="1668" y="7141"/>
                </a:lnTo>
                <a:lnTo>
                  <a:pt x="1685" y="7142"/>
                </a:lnTo>
                <a:lnTo>
                  <a:pt x="1704" y="7143"/>
                </a:lnTo>
                <a:lnTo>
                  <a:pt x="1752" y="7149"/>
                </a:lnTo>
                <a:lnTo>
                  <a:pt x="1884" y="7165"/>
                </a:lnTo>
                <a:lnTo>
                  <a:pt x="2015" y="7175"/>
                </a:lnTo>
                <a:lnTo>
                  <a:pt x="2147" y="7178"/>
                </a:lnTo>
                <a:lnTo>
                  <a:pt x="2278" y="7176"/>
                </a:lnTo>
                <a:lnTo>
                  <a:pt x="2409" y="7167"/>
                </a:lnTo>
                <a:lnTo>
                  <a:pt x="2540" y="7153"/>
                </a:lnTo>
                <a:lnTo>
                  <a:pt x="2671" y="7134"/>
                </a:lnTo>
                <a:lnTo>
                  <a:pt x="2802" y="7109"/>
                </a:lnTo>
                <a:lnTo>
                  <a:pt x="2813" y="7106"/>
                </a:lnTo>
                <a:lnTo>
                  <a:pt x="2825" y="7103"/>
                </a:lnTo>
                <a:lnTo>
                  <a:pt x="2848" y="7095"/>
                </a:lnTo>
                <a:lnTo>
                  <a:pt x="2900" y="7074"/>
                </a:lnTo>
                <a:lnTo>
                  <a:pt x="2631" y="6984"/>
                </a:lnTo>
                <a:lnTo>
                  <a:pt x="2373" y="6874"/>
                </a:lnTo>
                <a:lnTo>
                  <a:pt x="2128" y="6747"/>
                </a:lnTo>
                <a:lnTo>
                  <a:pt x="1895" y="6602"/>
                </a:lnTo>
                <a:lnTo>
                  <a:pt x="1677" y="6443"/>
                </a:lnTo>
                <a:lnTo>
                  <a:pt x="1475" y="6271"/>
                </a:lnTo>
                <a:lnTo>
                  <a:pt x="1289" y="6087"/>
                </a:lnTo>
                <a:lnTo>
                  <a:pt x="1122" y="5892"/>
                </a:lnTo>
                <a:lnTo>
                  <a:pt x="974" y="5689"/>
                </a:lnTo>
                <a:lnTo>
                  <a:pt x="846" y="5479"/>
                </a:lnTo>
                <a:lnTo>
                  <a:pt x="741" y="5262"/>
                </a:lnTo>
                <a:lnTo>
                  <a:pt x="658" y="5042"/>
                </a:lnTo>
                <a:lnTo>
                  <a:pt x="600" y="4819"/>
                </a:lnTo>
                <a:lnTo>
                  <a:pt x="567" y="4595"/>
                </a:lnTo>
                <a:lnTo>
                  <a:pt x="560" y="4372"/>
                </a:lnTo>
                <a:lnTo>
                  <a:pt x="582" y="4151"/>
                </a:lnTo>
                <a:lnTo>
                  <a:pt x="733" y="4222"/>
                </a:lnTo>
                <a:lnTo>
                  <a:pt x="885" y="4286"/>
                </a:lnTo>
                <a:lnTo>
                  <a:pt x="1040" y="4344"/>
                </a:lnTo>
                <a:lnTo>
                  <a:pt x="1199" y="4394"/>
                </a:lnTo>
                <a:lnTo>
                  <a:pt x="1361" y="4435"/>
                </a:lnTo>
                <a:lnTo>
                  <a:pt x="1528" y="4466"/>
                </a:lnTo>
                <a:lnTo>
                  <a:pt x="1700" y="4487"/>
                </a:lnTo>
                <a:lnTo>
                  <a:pt x="1878" y="4497"/>
                </a:lnTo>
                <a:lnTo>
                  <a:pt x="1717" y="4366"/>
                </a:lnTo>
                <a:lnTo>
                  <a:pt x="1566" y="4238"/>
                </a:lnTo>
                <a:lnTo>
                  <a:pt x="1426" y="4106"/>
                </a:lnTo>
                <a:lnTo>
                  <a:pt x="1361" y="4038"/>
                </a:lnTo>
                <a:lnTo>
                  <a:pt x="1298" y="3967"/>
                </a:lnTo>
                <a:lnTo>
                  <a:pt x="1149" y="3775"/>
                </a:lnTo>
                <a:lnTo>
                  <a:pt x="1017" y="3577"/>
                </a:lnTo>
                <a:lnTo>
                  <a:pt x="903" y="3371"/>
                </a:lnTo>
                <a:lnTo>
                  <a:pt x="806" y="3159"/>
                </a:lnTo>
                <a:lnTo>
                  <a:pt x="726" y="2940"/>
                </a:lnTo>
                <a:lnTo>
                  <a:pt x="664" y="2713"/>
                </a:lnTo>
                <a:lnTo>
                  <a:pt x="620" y="2479"/>
                </a:lnTo>
                <a:lnTo>
                  <a:pt x="594" y="2237"/>
                </a:lnTo>
                <a:lnTo>
                  <a:pt x="586" y="2032"/>
                </a:lnTo>
                <a:lnTo>
                  <a:pt x="592" y="1831"/>
                </a:lnTo>
                <a:lnTo>
                  <a:pt x="612" y="1633"/>
                </a:lnTo>
                <a:lnTo>
                  <a:pt x="645" y="1438"/>
                </a:lnTo>
                <a:lnTo>
                  <a:pt x="692" y="1245"/>
                </a:lnTo>
                <a:lnTo>
                  <a:pt x="752" y="1056"/>
                </a:lnTo>
                <a:lnTo>
                  <a:pt x="824" y="868"/>
                </a:lnTo>
                <a:lnTo>
                  <a:pt x="910" y="684"/>
                </a:lnTo>
                <a:lnTo>
                  <a:pt x="933" y="638"/>
                </a:lnTo>
                <a:lnTo>
                  <a:pt x="952" y="606"/>
                </a:lnTo>
                <a:lnTo>
                  <a:pt x="960" y="594"/>
                </a:lnTo>
                <a:lnTo>
                  <a:pt x="964" y="589"/>
                </a:lnTo>
                <a:lnTo>
                  <a:pt x="968" y="585"/>
                </a:lnTo>
                <a:lnTo>
                  <a:pt x="972" y="582"/>
                </a:lnTo>
                <a:lnTo>
                  <a:pt x="976" y="580"/>
                </a:lnTo>
                <a:lnTo>
                  <a:pt x="980" y="578"/>
                </a:lnTo>
                <a:lnTo>
                  <a:pt x="983" y="577"/>
                </a:lnTo>
                <a:lnTo>
                  <a:pt x="987" y="577"/>
                </a:lnTo>
                <a:lnTo>
                  <a:pt x="992" y="578"/>
                </a:lnTo>
                <a:lnTo>
                  <a:pt x="996" y="579"/>
                </a:lnTo>
                <a:lnTo>
                  <a:pt x="1000" y="581"/>
                </a:lnTo>
                <a:lnTo>
                  <a:pt x="1005" y="584"/>
                </a:lnTo>
                <a:lnTo>
                  <a:pt x="1010" y="587"/>
                </a:lnTo>
                <a:lnTo>
                  <a:pt x="1020" y="596"/>
                </a:lnTo>
                <a:lnTo>
                  <a:pt x="1045" y="623"/>
                </a:lnTo>
                <a:lnTo>
                  <a:pt x="1078" y="660"/>
                </a:lnTo>
                <a:lnTo>
                  <a:pt x="1596" y="1214"/>
                </a:lnTo>
                <a:lnTo>
                  <a:pt x="2145" y="1714"/>
                </a:lnTo>
                <a:lnTo>
                  <a:pt x="2726" y="2158"/>
                </a:lnTo>
                <a:lnTo>
                  <a:pt x="3338" y="2546"/>
                </a:lnTo>
                <a:lnTo>
                  <a:pt x="3983" y="2878"/>
                </a:lnTo>
                <a:lnTo>
                  <a:pt x="4660" y="3154"/>
                </a:lnTo>
                <a:lnTo>
                  <a:pt x="5369" y="3373"/>
                </a:lnTo>
                <a:lnTo>
                  <a:pt x="6112" y="3535"/>
                </a:lnTo>
                <a:lnTo>
                  <a:pt x="6324" y="3567"/>
                </a:lnTo>
                <a:lnTo>
                  <a:pt x="6537" y="3593"/>
                </a:lnTo>
                <a:lnTo>
                  <a:pt x="6964" y="3640"/>
                </a:lnTo>
                <a:lnTo>
                  <a:pt x="6997" y="3643"/>
                </a:lnTo>
                <a:lnTo>
                  <a:pt x="7011" y="3643"/>
                </a:lnTo>
                <a:lnTo>
                  <a:pt x="7024" y="3642"/>
                </a:lnTo>
                <a:lnTo>
                  <a:pt x="7035" y="3640"/>
                </a:lnTo>
                <a:lnTo>
                  <a:pt x="7045" y="3637"/>
                </a:lnTo>
                <a:lnTo>
                  <a:pt x="7049" y="3635"/>
                </a:lnTo>
                <a:lnTo>
                  <a:pt x="7053" y="3633"/>
                </a:lnTo>
                <a:lnTo>
                  <a:pt x="7057" y="3631"/>
                </a:lnTo>
                <a:lnTo>
                  <a:pt x="7060" y="3628"/>
                </a:lnTo>
                <a:lnTo>
                  <a:pt x="7063" y="3624"/>
                </a:lnTo>
                <a:lnTo>
                  <a:pt x="7066" y="3621"/>
                </a:lnTo>
                <a:lnTo>
                  <a:pt x="7068" y="3617"/>
                </a:lnTo>
                <a:lnTo>
                  <a:pt x="7070" y="3612"/>
                </a:lnTo>
                <a:lnTo>
                  <a:pt x="7073" y="3602"/>
                </a:lnTo>
                <a:lnTo>
                  <a:pt x="7074" y="3590"/>
                </a:lnTo>
                <a:lnTo>
                  <a:pt x="7075" y="3576"/>
                </a:lnTo>
                <a:lnTo>
                  <a:pt x="7074" y="3560"/>
                </a:lnTo>
                <a:lnTo>
                  <a:pt x="7069" y="3523"/>
                </a:lnTo>
                <a:lnTo>
                  <a:pt x="7031" y="3234"/>
                </a:lnTo>
                <a:lnTo>
                  <a:pt x="7020" y="2949"/>
                </a:lnTo>
                <a:lnTo>
                  <a:pt x="7035" y="2669"/>
                </a:lnTo>
                <a:lnTo>
                  <a:pt x="7074" y="2395"/>
                </a:lnTo>
                <a:lnTo>
                  <a:pt x="7137" y="2130"/>
                </a:lnTo>
                <a:lnTo>
                  <a:pt x="7224" y="1873"/>
                </a:lnTo>
                <a:lnTo>
                  <a:pt x="7333" y="1628"/>
                </a:lnTo>
                <a:lnTo>
                  <a:pt x="7463" y="1394"/>
                </a:lnTo>
                <a:lnTo>
                  <a:pt x="7614" y="1174"/>
                </a:lnTo>
                <a:lnTo>
                  <a:pt x="7785" y="968"/>
                </a:lnTo>
                <a:lnTo>
                  <a:pt x="7976" y="778"/>
                </a:lnTo>
                <a:lnTo>
                  <a:pt x="8184" y="606"/>
                </a:lnTo>
                <a:lnTo>
                  <a:pt x="8410" y="452"/>
                </a:lnTo>
                <a:lnTo>
                  <a:pt x="8653" y="319"/>
                </a:lnTo>
                <a:lnTo>
                  <a:pt x="8912" y="207"/>
                </a:lnTo>
                <a:lnTo>
                  <a:pt x="9186" y="118"/>
                </a:lnTo>
                <a:lnTo>
                  <a:pt x="9383" y="70"/>
                </a:lnTo>
                <a:lnTo>
                  <a:pt x="9577" y="34"/>
                </a:lnTo>
                <a:lnTo>
                  <a:pt x="9768" y="11"/>
                </a:lnTo>
                <a:lnTo>
                  <a:pt x="9956" y="0"/>
                </a:lnTo>
                <a:lnTo>
                  <a:pt x="10142" y="1"/>
                </a:lnTo>
                <a:lnTo>
                  <a:pt x="10325" y="15"/>
                </a:lnTo>
                <a:lnTo>
                  <a:pt x="10506" y="40"/>
                </a:lnTo>
                <a:lnTo>
                  <a:pt x="10683" y="78"/>
                </a:lnTo>
                <a:lnTo>
                  <a:pt x="10858" y="128"/>
                </a:lnTo>
                <a:lnTo>
                  <a:pt x="11029" y="189"/>
                </a:lnTo>
                <a:lnTo>
                  <a:pt x="11198" y="263"/>
                </a:lnTo>
                <a:lnTo>
                  <a:pt x="11364" y="348"/>
                </a:lnTo>
                <a:lnTo>
                  <a:pt x="11526" y="445"/>
                </a:lnTo>
                <a:lnTo>
                  <a:pt x="11686" y="554"/>
                </a:lnTo>
                <a:lnTo>
                  <a:pt x="11842" y="675"/>
                </a:lnTo>
                <a:lnTo>
                  <a:pt x="11995" y="807"/>
                </a:lnTo>
                <a:lnTo>
                  <a:pt x="12039" y="843"/>
                </a:lnTo>
                <a:lnTo>
                  <a:pt x="12060" y="858"/>
                </a:lnTo>
                <a:lnTo>
                  <a:pt x="12081" y="871"/>
                </a:lnTo>
                <a:lnTo>
                  <a:pt x="12102" y="883"/>
                </a:lnTo>
                <a:lnTo>
                  <a:pt x="12123" y="892"/>
                </a:lnTo>
                <a:lnTo>
                  <a:pt x="12144" y="900"/>
                </a:lnTo>
                <a:lnTo>
                  <a:pt x="12165" y="906"/>
                </a:lnTo>
                <a:lnTo>
                  <a:pt x="12187" y="911"/>
                </a:lnTo>
                <a:lnTo>
                  <a:pt x="12209" y="914"/>
                </a:lnTo>
                <a:lnTo>
                  <a:pt x="12231" y="915"/>
                </a:lnTo>
                <a:lnTo>
                  <a:pt x="12254" y="914"/>
                </a:lnTo>
                <a:lnTo>
                  <a:pt x="12278" y="912"/>
                </a:lnTo>
                <a:lnTo>
                  <a:pt x="12302" y="909"/>
                </a:lnTo>
                <a:lnTo>
                  <a:pt x="12354" y="898"/>
                </a:lnTo>
                <a:lnTo>
                  <a:pt x="12744" y="787"/>
                </a:lnTo>
                <a:lnTo>
                  <a:pt x="13126" y="654"/>
                </a:lnTo>
                <a:lnTo>
                  <a:pt x="13313" y="579"/>
                </a:lnTo>
                <a:lnTo>
                  <a:pt x="13498" y="497"/>
                </a:lnTo>
                <a:lnTo>
                  <a:pt x="13680" y="409"/>
                </a:lnTo>
                <a:lnTo>
                  <a:pt x="13860" y="315"/>
                </a:lnTo>
                <a:lnTo>
                  <a:pt x="13960" y="264"/>
                </a:lnTo>
                <a:lnTo>
                  <a:pt x="13961" y="263"/>
                </a:lnTo>
                <a:lnTo>
                  <a:pt x="13963" y="263"/>
                </a:lnTo>
                <a:lnTo>
                  <a:pt x="13964" y="263"/>
                </a:lnTo>
                <a:lnTo>
                  <a:pt x="13966" y="263"/>
                </a:lnTo>
                <a:lnTo>
                  <a:pt x="13968" y="263"/>
                </a:lnTo>
                <a:lnTo>
                  <a:pt x="13970" y="264"/>
                </a:lnTo>
                <a:lnTo>
                  <a:pt x="13975" y="265"/>
                </a:lnTo>
                <a:lnTo>
                  <a:pt x="13987" y="268"/>
                </a:lnTo>
                <a:lnTo>
                  <a:pt x="13995" y="269"/>
                </a:lnTo>
                <a:lnTo>
                  <a:pt x="14004" y="271"/>
                </a:lnTo>
                <a:lnTo>
                  <a:pt x="13912" y="511"/>
                </a:lnTo>
                <a:lnTo>
                  <a:pt x="13801" y="736"/>
                </a:lnTo>
                <a:lnTo>
                  <a:pt x="13673" y="949"/>
                </a:lnTo>
                <a:lnTo>
                  <a:pt x="13527" y="1148"/>
                </a:lnTo>
                <a:lnTo>
                  <a:pt x="13363" y="1336"/>
                </a:lnTo>
                <a:lnTo>
                  <a:pt x="13182" y="1513"/>
                </a:lnTo>
                <a:lnTo>
                  <a:pt x="12984" y="1679"/>
                </a:lnTo>
                <a:lnTo>
                  <a:pt x="12768" y="1836"/>
                </a:lnTo>
                <a:lnTo>
                  <a:pt x="12830" y="1838"/>
                </a:lnTo>
                <a:lnTo>
                  <a:pt x="12888" y="1836"/>
                </a:lnTo>
                <a:lnTo>
                  <a:pt x="12943" y="1831"/>
                </a:lnTo>
                <a:lnTo>
                  <a:pt x="12996" y="1823"/>
                </a:lnTo>
                <a:lnTo>
                  <a:pt x="13192" y="1783"/>
                </a:lnTo>
                <a:lnTo>
                  <a:pt x="13292" y="1763"/>
                </a:lnTo>
                <a:lnTo>
                  <a:pt x="13392" y="1741"/>
                </a:lnTo>
                <a:lnTo>
                  <a:pt x="13491" y="1717"/>
                </a:lnTo>
                <a:lnTo>
                  <a:pt x="13590" y="1691"/>
                </a:lnTo>
                <a:lnTo>
                  <a:pt x="13688" y="1662"/>
                </a:lnTo>
                <a:lnTo>
                  <a:pt x="13785" y="1631"/>
                </a:lnTo>
                <a:lnTo>
                  <a:pt x="13979" y="1569"/>
                </a:lnTo>
                <a:lnTo>
                  <a:pt x="14026" y="1553"/>
                </a:lnTo>
                <a:lnTo>
                  <a:pt x="14073" y="1535"/>
                </a:lnTo>
                <a:lnTo>
                  <a:pt x="14169" y="1497"/>
                </a:lnTo>
                <a:lnTo>
                  <a:pt x="14219" y="1479"/>
                </a:lnTo>
                <a:lnTo>
                  <a:pt x="14271" y="1462"/>
                </a:lnTo>
                <a:lnTo>
                  <a:pt x="14325" y="1448"/>
                </a:lnTo>
                <a:lnTo>
                  <a:pt x="14383" y="1437"/>
                </a:lnTo>
                <a:lnTo>
                  <a:pt x="14329" y="1522"/>
                </a:lnTo>
                <a:lnTo>
                  <a:pt x="14275" y="1604"/>
                </a:lnTo>
                <a:lnTo>
                  <a:pt x="14161" y="1758"/>
                </a:lnTo>
                <a:lnTo>
                  <a:pt x="14044" y="1901"/>
                </a:lnTo>
                <a:lnTo>
                  <a:pt x="13924" y="2039"/>
                </a:lnTo>
                <a:lnTo>
                  <a:pt x="13717" y="2261"/>
                </a:lnTo>
                <a:lnTo>
                  <a:pt x="13501" y="2473"/>
                </a:lnTo>
                <a:lnTo>
                  <a:pt x="13274" y="2673"/>
                </a:lnTo>
                <a:lnTo>
                  <a:pt x="13155" y="2767"/>
                </a:lnTo>
                <a:lnTo>
                  <a:pt x="13033" y="2858"/>
                </a:lnTo>
                <a:lnTo>
                  <a:pt x="13020" y="2867"/>
                </a:lnTo>
                <a:lnTo>
                  <a:pt x="13009" y="2877"/>
                </a:lnTo>
                <a:lnTo>
                  <a:pt x="12999" y="2887"/>
                </a:lnTo>
                <a:lnTo>
                  <a:pt x="12990" y="2898"/>
                </a:lnTo>
                <a:lnTo>
                  <a:pt x="12982" y="2908"/>
                </a:lnTo>
                <a:lnTo>
                  <a:pt x="12975" y="2919"/>
                </a:lnTo>
                <a:lnTo>
                  <a:pt x="12970" y="2930"/>
                </a:lnTo>
                <a:lnTo>
                  <a:pt x="12965" y="2941"/>
                </a:lnTo>
                <a:lnTo>
                  <a:pt x="12961" y="2953"/>
                </a:lnTo>
                <a:lnTo>
                  <a:pt x="12957" y="2965"/>
                </a:lnTo>
                <a:lnTo>
                  <a:pt x="12955" y="2977"/>
                </a:lnTo>
                <a:lnTo>
                  <a:pt x="12953" y="2990"/>
                </a:lnTo>
                <a:lnTo>
                  <a:pt x="12950" y="3017"/>
                </a:lnTo>
                <a:lnTo>
                  <a:pt x="12950" y="3047"/>
                </a:lnTo>
                <a:lnTo>
                  <a:pt x="12929" y="3850"/>
                </a:lnTo>
                <a:lnTo>
                  <a:pt x="12841" y="4631"/>
                </a:lnTo>
                <a:lnTo>
                  <a:pt x="12687" y="5388"/>
                </a:lnTo>
                <a:lnTo>
                  <a:pt x="12467" y="6122"/>
                </a:lnTo>
                <a:lnTo>
                  <a:pt x="12180" y="6832"/>
                </a:lnTo>
                <a:lnTo>
                  <a:pt x="11827" y="7519"/>
                </a:lnTo>
                <a:lnTo>
                  <a:pt x="11408" y="8182"/>
                </a:lnTo>
                <a:lnTo>
                  <a:pt x="10923" y="8821"/>
                </a:lnTo>
                <a:lnTo>
                  <a:pt x="10445" y="9353"/>
                </a:lnTo>
                <a:lnTo>
                  <a:pt x="9935" y="9832"/>
                </a:lnTo>
                <a:lnTo>
                  <a:pt x="9392" y="10258"/>
                </a:lnTo>
                <a:lnTo>
                  <a:pt x="8817" y="10630"/>
                </a:lnTo>
                <a:lnTo>
                  <a:pt x="8211" y="10949"/>
                </a:lnTo>
                <a:lnTo>
                  <a:pt x="7574" y="11215"/>
                </a:lnTo>
                <a:lnTo>
                  <a:pt x="6907" y="11427"/>
                </a:lnTo>
                <a:lnTo>
                  <a:pt x="6210" y="11586"/>
                </a:lnTo>
                <a:lnTo>
                  <a:pt x="5402" y="11701"/>
                </a:lnTo>
                <a:lnTo>
                  <a:pt x="4606" y="11745"/>
                </a:lnTo>
                <a:lnTo>
                  <a:pt x="3823" y="11718"/>
                </a:lnTo>
                <a:lnTo>
                  <a:pt x="3053" y="11619"/>
                </a:lnTo>
                <a:lnTo>
                  <a:pt x="2295" y="11447"/>
                </a:lnTo>
                <a:lnTo>
                  <a:pt x="1550" y="11201"/>
                </a:lnTo>
                <a:lnTo>
                  <a:pt x="819" y="10882"/>
                </a:lnTo>
                <a:lnTo>
                  <a:pt x="101" y="10488"/>
                </a:lnTo>
                <a:lnTo>
                  <a:pt x="83" y="10477"/>
                </a:lnTo>
                <a:lnTo>
                  <a:pt x="63" y="10462"/>
                </a:lnTo>
                <a:lnTo>
                  <a:pt x="0" y="10417"/>
                </a:lnTo>
              </a:path>
            </a:pathLst>
          </a:custGeom>
          <a:solidFill>
            <a:srgbClr val="123563"/>
          </a:solidFill>
          <a:ln>
            <a:noFill/>
          </a:ln>
          <a:effectLst/>
        </p:spPr>
        <p:txBody>
          <a:bodyPr wrap="none" anchor="ctr"/>
          <a:lstStyle/>
          <a:p>
            <a:endParaRPr lang="de-DE" dirty="0">
              <a:latin typeface="BISansOpti"/>
            </a:endParaRPr>
          </a:p>
        </p:txBody>
      </p:sp>
      <p:sp>
        <p:nvSpPr>
          <p:cNvPr id="15" name="Freeform 2"/>
          <p:cNvSpPr>
            <a:spLocks noChangeAspect="1" noChangeArrowheads="1"/>
          </p:cNvSpPr>
          <p:nvPr userDrawn="1"/>
        </p:nvSpPr>
        <p:spPr bwMode="auto">
          <a:xfrm>
            <a:off x="1651481" y="1281034"/>
            <a:ext cx="360000" cy="269395"/>
          </a:xfrm>
          <a:custGeom>
            <a:avLst/>
            <a:gdLst>
              <a:gd name="T0" fmla="*/ 14325 w 14438"/>
              <a:gd name="T1" fmla="*/ 8118 h 10806"/>
              <a:gd name="T2" fmla="*/ 14255 w 14438"/>
              <a:gd name="T3" fmla="*/ 8647 h 10806"/>
              <a:gd name="T4" fmla="*/ 14181 w 14438"/>
              <a:gd name="T5" fmla="*/ 8993 h 10806"/>
              <a:gd name="T6" fmla="*/ 14077 w 14438"/>
              <a:gd name="T7" fmla="*/ 9332 h 10806"/>
              <a:gd name="T8" fmla="*/ 13964 w 14438"/>
              <a:gd name="T9" fmla="*/ 9609 h 10806"/>
              <a:gd name="T10" fmla="*/ 13852 w 14438"/>
              <a:gd name="T11" fmla="*/ 9813 h 10806"/>
              <a:gd name="T12" fmla="*/ 13721 w 14438"/>
              <a:gd name="T13" fmla="*/ 9995 h 10806"/>
              <a:gd name="T14" fmla="*/ 13572 w 14438"/>
              <a:gd name="T15" fmla="*/ 10155 h 10806"/>
              <a:gd name="T16" fmla="*/ 13405 w 14438"/>
              <a:gd name="T17" fmla="*/ 10292 h 10806"/>
              <a:gd name="T18" fmla="*/ 13220 w 14438"/>
              <a:gd name="T19" fmla="*/ 10406 h 10806"/>
              <a:gd name="T20" fmla="*/ 13016 w 14438"/>
              <a:gd name="T21" fmla="*/ 10497 h 10806"/>
              <a:gd name="T22" fmla="*/ 12795 w 14438"/>
              <a:gd name="T23" fmla="*/ 10564 h 10806"/>
              <a:gd name="T24" fmla="*/ 12403 w 14438"/>
              <a:gd name="T25" fmla="*/ 10631 h 10806"/>
              <a:gd name="T26" fmla="*/ 11849 w 14438"/>
              <a:gd name="T27" fmla="*/ 10683 h 10806"/>
              <a:gd name="T28" fmla="*/ 7794 w 14438"/>
              <a:gd name="T29" fmla="*/ 10805 h 10806"/>
              <a:gd name="T30" fmla="*/ 2034 w 14438"/>
              <a:gd name="T31" fmla="*/ 10612 h 10806"/>
              <a:gd name="T32" fmla="*/ 1725 w 14438"/>
              <a:gd name="T33" fmla="*/ 10567 h 10806"/>
              <a:gd name="T34" fmla="*/ 1442 w 14438"/>
              <a:gd name="T35" fmla="*/ 10487 h 10806"/>
              <a:gd name="T36" fmla="*/ 1186 w 14438"/>
              <a:gd name="T37" fmla="*/ 10372 h 10806"/>
              <a:gd name="T38" fmla="*/ 957 w 14438"/>
              <a:gd name="T39" fmla="*/ 10222 h 10806"/>
              <a:gd name="T40" fmla="*/ 756 w 14438"/>
              <a:gd name="T41" fmla="*/ 10035 h 10806"/>
              <a:gd name="T42" fmla="*/ 584 w 14438"/>
              <a:gd name="T43" fmla="*/ 9811 h 10806"/>
              <a:gd name="T44" fmla="*/ 440 w 14438"/>
              <a:gd name="T45" fmla="*/ 9549 h 10806"/>
              <a:gd name="T46" fmla="*/ 327 w 14438"/>
              <a:gd name="T47" fmla="*/ 9249 h 10806"/>
              <a:gd name="T48" fmla="*/ 215 w 14438"/>
              <a:gd name="T49" fmla="*/ 8800 h 10806"/>
              <a:gd name="T50" fmla="*/ 142 w 14438"/>
              <a:gd name="T51" fmla="*/ 8345 h 10806"/>
              <a:gd name="T52" fmla="*/ 60 w 14438"/>
              <a:gd name="T53" fmla="*/ 7429 h 10806"/>
              <a:gd name="T54" fmla="*/ 0 w 14438"/>
              <a:gd name="T55" fmla="*/ 4261 h 10806"/>
              <a:gd name="T56" fmla="*/ 19 w 14438"/>
              <a:gd name="T57" fmla="*/ 4179 h 10806"/>
              <a:gd name="T58" fmla="*/ 22 w 14438"/>
              <a:gd name="T59" fmla="*/ 4152 h 10806"/>
              <a:gd name="T60" fmla="*/ 124 w 14438"/>
              <a:gd name="T61" fmla="*/ 2563 h 10806"/>
              <a:gd name="T62" fmla="*/ 181 w 14438"/>
              <a:gd name="T63" fmla="*/ 2160 h 10806"/>
              <a:gd name="T64" fmla="*/ 268 w 14438"/>
              <a:gd name="T65" fmla="*/ 1763 h 10806"/>
              <a:gd name="T66" fmla="*/ 394 w 14438"/>
              <a:gd name="T67" fmla="*/ 1373 h 10806"/>
              <a:gd name="T68" fmla="*/ 495 w 14438"/>
              <a:gd name="T69" fmla="*/ 1146 h 10806"/>
              <a:gd name="T70" fmla="*/ 616 w 14438"/>
              <a:gd name="T71" fmla="*/ 940 h 10806"/>
              <a:gd name="T72" fmla="*/ 756 w 14438"/>
              <a:gd name="T73" fmla="*/ 757 h 10806"/>
              <a:gd name="T74" fmla="*/ 916 w 14438"/>
              <a:gd name="T75" fmla="*/ 598 h 10806"/>
              <a:gd name="T76" fmla="*/ 1095 w 14438"/>
              <a:gd name="T77" fmla="*/ 464 h 10806"/>
              <a:gd name="T78" fmla="*/ 1295 w 14438"/>
              <a:gd name="T79" fmla="*/ 355 h 10806"/>
              <a:gd name="T80" fmla="*/ 1515 w 14438"/>
              <a:gd name="T81" fmla="*/ 272 h 10806"/>
              <a:gd name="T82" fmla="*/ 1755 w 14438"/>
              <a:gd name="T83" fmla="*/ 217 h 10806"/>
              <a:gd name="T84" fmla="*/ 2523 w 14438"/>
              <a:gd name="T85" fmla="*/ 126 h 10806"/>
              <a:gd name="T86" fmla="*/ 3297 w 14438"/>
              <a:gd name="T87" fmla="*/ 84 h 10806"/>
              <a:gd name="T88" fmla="*/ 10458 w 14438"/>
              <a:gd name="T89" fmla="*/ 57 h 10806"/>
              <a:gd name="T90" fmla="*/ 12041 w 14438"/>
              <a:gd name="T91" fmla="*/ 144 h 10806"/>
              <a:gd name="T92" fmla="*/ 12686 w 14438"/>
              <a:gd name="T93" fmla="*/ 211 h 10806"/>
              <a:gd name="T94" fmla="*/ 12911 w 14438"/>
              <a:gd name="T95" fmla="*/ 262 h 10806"/>
              <a:gd name="T96" fmla="*/ 13122 w 14438"/>
              <a:gd name="T97" fmla="*/ 339 h 10806"/>
              <a:gd name="T98" fmla="*/ 13316 w 14438"/>
              <a:gd name="T99" fmla="*/ 440 h 10806"/>
              <a:gd name="T100" fmla="*/ 13493 w 14438"/>
              <a:gd name="T101" fmla="*/ 567 h 10806"/>
              <a:gd name="T102" fmla="*/ 13651 w 14438"/>
              <a:gd name="T103" fmla="*/ 718 h 10806"/>
              <a:gd name="T104" fmla="*/ 13790 w 14438"/>
              <a:gd name="T105" fmla="*/ 894 h 10806"/>
              <a:gd name="T106" fmla="*/ 13909 w 14438"/>
              <a:gd name="T107" fmla="*/ 1094 h 10806"/>
              <a:gd name="T108" fmla="*/ 14062 w 14438"/>
              <a:gd name="T109" fmla="*/ 1453 h 10806"/>
              <a:gd name="T110" fmla="*/ 14150 w 14438"/>
              <a:gd name="T111" fmla="*/ 1710 h 10806"/>
              <a:gd name="T112" fmla="*/ 14218 w 14438"/>
              <a:gd name="T113" fmla="*/ 1973 h 10806"/>
              <a:gd name="T114" fmla="*/ 14260 w 14438"/>
              <a:gd name="T115" fmla="*/ 2237 h 10806"/>
              <a:gd name="T116" fmla="*/ 14437 w 14438"/>
              <a:gd name="T117" fmla="*/ 5189 h 10806"/>
              <a:gd name="T118" fmla="*/ 5417 w 14438"/>
              <a:gd name="T119" fmla="*/ 8122 h 10806"/>
              <a:gd name="T120" fmla="*/ 5417 w 14438"/>
              <a:gd name="T121" fmla="*/ 2686 h 10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38" h="10806">
                <a:moveTo>
                  <a:pt x="14437" y="5994"/>
                </a:moveTo>
                <a:lnTo>
                  <a:pt x="14325" y="8118"/>
                </a:lnTo>
                <a:lnTo>
                  <a:pt x="14284" y="8472"/>
                </a:lnTo>
                <a:lnTo>
                  <a:pt x="14255" y="8647"/>
                </a:lnTo>
                <a:lnTo>
                  <a:pt x="14222" y="8821"/>
                </a:lnTo>
                <a:lnTo>
                  <a:pt x="14181" y="8993"/>
                </a:lnTo>
                <a:lnTo>
                  <a:pt x="14133" y="9164"/>
                </a:lnTo>
                <a:lnTo>
                  <a:pt x="14077" y="9332"/>
                </a:lnTo>
                <a:lnTo>
                  <a:pt x="14013" y="9499"/>
                </a:lnTo>
                <a:lnTo>
                  <a:pt x="13964" y="9609"/>
                </a:lnTo>
                <a:lnTo>
                  <a:pt x="13910" y="9714"/>
                </a:lnTo>
                <a:lnTo>
                  <a:pt x="13852" y="9813"/>
                </a:lnTo>
                <a:lnTo>
                  <a:pt x="13789" y="9907"/>
                </a:lnTo>
                <a:lnTo>
                  <a:pt x="13721" y="9995"/>
                </a:lnTo>
                <a:lnTo>
                  <a:pt x="13649" y="10078"/>
                </a:lnTo>
                <a:lnTo>
                  <a:pt x="13572" y="10155"/>
                </a:lnTo>
                <a:lnTo>
                  <a:pt x="13491" y="10226"/>
                </a:lnTo>
                <a:lnTo>
                  <a:pt x="13405" y="10292"/>
                </a:lnTo>
                <a:lnTo>
                  <a:pt x="13315" y="10352"/>
                </a:lnTo>
                <a:lnTo>
                  <a:pt x="13220" y="10406"/>
                </a:lnTo>
                <a:lnTo>
                  <a:pt x="13120" y="10454"/>
                </a:lnTo>
                <a:lnTo>
                  <a:pt x="13016" y="10497"/>
                </a:lnTo>
                <a:lnTo>
                  <a:pt x="12907" y="10533"/>
                </a:lnTo>
                <a:lnTo>
                  <a:pt x="12795" y="10564"/>
                </a:lnTo>
                <a:lnTo>
                  <a:pt x="12677" y="10588"/>
                </a:lnTo>
                <a:lnTo>
                  <a:pt x="12403" y="10631"/>
                </a:lnTo>
                <a:lnTo>
                  <a:pt x="12127" y="10662"/>
                </a:lnTo>
                <a:lnTo>
                  <a:pt x="11849" y="10683"/>
                </a:lnTo>
                <a:lnTo>
                  <a:pt x="11571" y="10696"/>
                </a:lnTo>
                <a:lnTo>
                  <a:pt x="7794" y="10805"/>
                </a:lnTo>
                <a:lnTo>
                  <a:pt x="4552" y="10756"/>
                </a:lnTo>
                <a:lnTo>
                  <a:pt x="2034" y="10612"/>
                </a:lnTo>
                <a:lnTo>
                  <a:pt x="1876" y="10594"/>
                </a:lnTo>
                <a:lnTo>
                  <a:pt x="1725" y="10567"/>
                </a:lnTo>
                <a:lnTo>
                  <a:pt x="1581" y="10531"/>
                </a:lnTo>
                <a:lnTo>
                  <a:pt x="1442" y="10487"/>
                </a:lnTo>
                <a:lnTo>
                  <a:pt x="1311" y="10434"/>
                </a:lnTo>
                <a:lnTo>
                  <a:pt x="1186" y="10372"/>
                </a:lnTo>
                <a:lnTo>
                  <a:pt x="1068" y="10302"/>
                </a:lnTo>
                <a:lnTo>
                  <a:pt x="957" y="10222"/>
                </a:lnTo>
                <a:lnTo>
                  <a:pt x="853" y="10133"/>
                </a:lnTo>
                <a:lnTo>
                  <a:pt x="756" y="10035"/>
                </a:lnTo>
                <a:lnTo>
                  <a:pt x="666" y="9927"/>
                </a:lnTo>
                <a:lnTo>
                  <a:pt x="584" y="9811"/>
                </a:lnTo>
                <a:lnTo>
                  <a:pt x="508" y="9685"/>
                </a:lnTo>
                <a:lnTo>
                  <a:pt x="440" y="9549"/>
                </a:lnTo>
                <a:lnTo>
                  <a:pt x="380" y="9404"/>
                </a:lnTo>
                <a:lnTo>
                  <a:pt x="327" y="9249"/>
                </a:lnTo>
                <a:lnTo>
                  <a:pt x="265" y="9025"/>
                </a:lnTo>
                <a:lnTo>
                  <a:pt x="215" y="8800"/>
                </a:lnTo>
                <a:lnTo>
                  <a:pt x="174" y="8573"/>
                </a:lnTo>
                <a:lnTo>
                  <a:pt x="142" y="8345"/>
                </a:lnTo>
                <a:lnTo>
                  <a:pt x="96" y="7888"/>
                </a:lnTo>
                <a:lnTo>
                  <a:pt x="60" y="7429"/>
                </a:lnTo>
                <a:lnTo>
                  <a:pt x="0" y="6548"/>
                </a:lnTo>
                <a:lnTo>
                  <a:pt x="0" y="4261"/>
                </a:lnTo>
                <a:lnTo>
                  <a:pt x="13" y="4207"/>
                </a:lnTo>
                <a:lnTo>
                  <a:pt x="19" y="4179"/>
                </a:lnTo>
                <a:lnTo>
                  <a:pt x="21" y="4166"/>
                </a:lnTo>
                <a:lnTo>
                  <a:pt x="22" y="4152"/>
                </a:lnTo>
                <a:lnTo>
                  <a:pt x="89" y="2970"/>
                </a:lnTo>
                <a:lnTo>
                  <a:pt x="124" y="2563"/>
                </a:lnTo>
                <a:lnTo>
                  <a:pt x="150" y="2361"/>
                </a:lnTo>
                <a:lnTo>
                  <a:pt x="181" y="2160"/>
                </a:lnTo>
                <a:lnTo>
                  <a:pt x="220" y="1960"/>
                </a:lnTo>
                <a:lnTo>
                  <a:pt x="268" y="1763"/>
                </a:lnTo>
                <a:lnTo>
                  <a:pt x="326" y="1567"/>
                </a:lnTo>
                <a:lnTo>
                  <a:pt x="394" y="1373"/>
                </a:lnTo>
                <a:lnTo>
                  <a:pt x="442" y="1257"/>
                </a:lnTo>
                <a:lnTo>
                  <a:pt x="495" y="1146"/>
                </a:lnTo>
                <a:lnTo>
                  <a:pt x="553" y="1040"/>
                </a:lnTo>
                <a:lnTo>
                  <a:pt x="616" y="940"/>
                </a:lnTo>
                <a:lnTo>
                  <a:pt x="684" y="846"/>
                </a:lnTo>
                <a:lnTo>
                  <a:pt x="756" y="757"/>
                </a:lnTo>
                <a:lnTo>
                  <a:pt x="833" y="675"/>
                </a:lnTo>
                <a:lnTo>
                  <a:pt x="916" y="598"/>
                </a:lnTo>
                <a:lnTo>
                  <a:pt x="1003" y="528"/>
                </a:lnTo>
                <a:lnTo>
                  <a:pt x="1095" y="464"/>
                </a:lnTo>
                <a:lnTo>
                  <a:pt x="1193" y="406"/>
                </a:lnTo>
                <a:lnTo>
                  <a:pt x="1295" y="355"/>
                </a:lnTo>
                <a:lnTo>
                  <a:pt x="1402" y="310"/>
                </a:lnTo>
                <a:lnTo>
                  <a:pt x="1515" y="272"/>
                </a:lnTo>
                <a:lnTo>
                  <a:pt x="1632" y="241"/>
                </a:lnTo>
                <a:lnTo>
                  <a:pt x="1755" y="217"/>
                </a:lnTo>
                <a:lnTo>
                  <a:pt x="2137" y="163"/>
                </a:lnTo>
                <a:lnTo>
                  <a:pt x="2523" y="126"/>
                </a:lnTo>
                <a:lnTo>
                  <a:pt x="2910" y="101"/>
                </a:lnTo>
                <a:lnTo>
                  <a:pt x="3297" y="84"/>
                </a:lnTo>
                <a:lnTo>
                  <a:pt x="6666" y="0"/>
                </a:lnTo>
                <a:lnTo>
                  <a:pt x="10458" y="57"/>
                </a:lnTo>
                <a:lnTo>
                  <a:pt x="11514" y="105"/>
                </a:lnTo>
                <a:lnTo>
                  <a:pt x="12041" y="144"/>
                </a:lnTo>
                <a:lnTo>
                  <a:pt x="12567" y="195"/>
                </a:lnTo>
                <a:lnTo>
                  <a:pt x="12686" y="211"/>
                </a:lnTo>
                <a:lnTo>
                  <a:pt x="12800" y="233"/>
                </a:lnTo>
                <a:lnTo>
                  <a:pt x="12911" y="262"/>
                </a:lnTo>
                <a:lnTo>
                  <a:pt x="13019" y="297"/>
                </a:lnTo>
                <a:lnTo>
                  <a:pt x="13122" y="339"/>
                </a:lnTo>
                <a:lnTo>
                  <a:pt x="13221" y="386"/>
                </a:lnTo>
                <a:lnTo>
                  <a:pt x="13316" y="440"/>
                </a:lnTo>
                <a:lnTo>
                  <a:pt x="13406" y="500"/>
                </a:lnTo>
                <a:lnTo>
                  <a:pt x="13493" y="567"/>
                </a:lnTo>
                <a:lnTo>
                  <a:pt x="13574" y="639"/>
                </a:lnTo>
                <a:lnTo>
                  <a:pt x="13651" y="718"/>
                </a:lnTo>
                <a:lnTo>
                  <a:pt x="13723" y="803"/>
                </a:lnTo>
                <a:lnTo>
                  <a:pt x="13790" y="894"/>
                </a:lnTo>
                <a:lnTo>
                  <a:pt x="13852" y="991"/>
                </a:lnTo>
                <a:lnTo>
                  <a:pt x="13909" y="1094"/>
                </a:lnTo>
                <a:lnTo>
                  <a:pt x="13960" y="1203"/>
                </a:lnTo>
                <a:lnTo>
                  <a:pt x="14062" y="1453"/>
                </a:lnTo>
                <a:lnTo>
                  <a:pt x="14108" y="1581"/>
                </a:lnTo>
                <a:lnTo>
                  <a:pt x="14150" y="1710"/>
                </a:lnTo>
                <a:lnTo>
                  <a:pt x="14187" y="1841"/>
                </a:lnTo>
                <a:lnTo>
                  <a:pt x="14218" y="1973"/>
                </a:lnTo>
                <a:lnTo>
                  <a:pt x="14242" y="2105"/>
                </a:lnTo>
                <a:lnTo>
                  <a:pt x="14260" y="2237"/>
                </a:lnTo>
                <a:lnTo>
                  <a:pt x="14427" y="4739"/>
                </a:lnTo>
                <a:lnTo>
                  <a:pt x="14437" y="5189"/>
                </a:lnTo>
                <a:lnTo>
                  <a:pt x="14437" y="5994"/>
                </a:lnTo>
                <a:close/>
                <a:moveTo>
                  <a:pt x="5417" y="8122"/>
                </a:moveTo>
                <a:lnTo>
                  <a:pt x="9947" y="5404"/>
                </a:lnTo>
                <a:lnTo>
                  <a:pt x="5417" y="2686"/>
                </a:lnTo>
                <a:lnTo>
                  <a:pt x="5417" y="8122"/>
                </a:lnTo>
                <a:close/>
              </a:path>
            </a:pathLst>
          </a:custGeom>
          <a:solidFill>
            <a:srgbClr val="123563"/>
          </a:solidFill>
          <a:ln>
            <a:noFill/>
          </a:ln>
          <a:effectLst/>
        </p:spPr>
        <p:txBody>
          <a:bodyPr wrap="none" anchor="ctr"/>
          <a:lstStyle/>
          <a:p>
            <a:endParaRPr lang="de-DE" dirty="0">
              <a:latin typeface="BISansOpti"/>
            </a:endParaRPr>
          </a:p>
        </p:txBody>
      </p:sp>
      <p:sp>
        <p:nvSpPr>
          <p:cNvPr id="16" name="Freeform 2"/>
          <p:cNvSpPr>
            <a:spLocks noChangeAspect="1" noChangeArrowheads="1"/>
          </p:cNvSpPr>
          <p:nvPr userDrawn="1"/>
        </p:nvSpPr>
        <p:spPr bwMode="auto">
          <a:xfrm>
            <a:off x="2312456" y="1240070"/>
            <a:ext cx="287999" cy="371391"/>
          </a:xfrm>
          <a:custGeom>
            <a:avLst/>
            <a:gdLst>
              <a:gd name="T0" fmla="*/ 3118 w 9837"/>
              <a:gd name="T1" fmla="*/ 11425 h 12686"/>
              <a:gd name="T2" fmla="*/ 2294 w 9837"/>
              <a:gd name="T3" fmla="*/ 12646 h 12686"/>
              <a:gd name="T4" fmla="*/ 2234 w 9837"/>
              <a:gd name="T5" fmla="*/ 12679 h 12686"/>
              <a:gd name="T6" fmla="*/ 2189 w 9837"/>
              <a:gd name="T7" fmla="*/ 12684 h 12686"/>
              <a:gd name="T8" fmla="*/ 2154 w 9837"/>
              <a:gd name="T9" fmla="*/ 12659 h 12686"/>
              <a:gd name="T10" fmla="*/ 2115 w 9837"/>
              <a:gd name="T11" fmla="*/ 12581 h 12686"/>
              <a:gd name="T12" fmla="*/ 2014 w 9837"/>
              <a:gd name="T13" fmla="*/ 11008 h 12686"/>
              <a:gd name="T14" fmla="*/ 3053 w 9837"/>
              <a:gd name="T15" fmla="*/ 5966 h 12686"/>
              <a:gd name="T16" fmla="*/ 3042 w 9837"/>
              <a:gd name="T17" fmla="*/ 5815 h 12686"/>
              <a:gd name="T18" fmla="*/ 2842 w 9837"/>
              <a:gd name="T19" fmla="*/ 4798 h 12686"/>
              <a:gd name="T20" fmla="*/ 3098 w 9837"/>
              <a:gd name="T21" fmla="*/ 3624 h 12686"/>
              <a:gd name="T22" fmla="*/ 3521 w 9837"/>
              <a:gd name="T23" fmla="*/ 3104 h 12686"/>
              <a:gd name="T24" fmla="*/ 4132 w 9837"/>
              <a:gd name="T25" fmla="*/ 2846 h 12686"/>
              <a:gd name="T26" fmla="*/ 4671 w 9837"/>
              <a:gd name="T27" fmla="*/ 2922 h 12686"/>
              <a:gd name="T28" fmla="*/ 5025 w 9837"/>
              <a:gd name="T29" fmla="*/ 3211 h 12686"/>
              <a:gd name="T30" fmla="*/ 5210 w 9837"/>
              <a:gd name="T31" fmla="*/ 3670 h 12686"/>
              <a:gd name="T32" fmla="*/ 5155 w 9837"/>
              <a:gd name="T33" fmla="*/ 4529 h 12686"/>
              <a:gd name="T34" fmla="*/ 4590 w 9837"/>
              <a:gd name="T35" fmla="*/ 7081 h 12686"/>
              <a:gd name="T36" fmla="*/ 5138 w 9837"/>
              <a:gd name="T37" fmla="*/ 7774 h 12686"/>
              <a:gd name="T38" fmla="*/ 6107 w 9837"/>
              <a:gd name="T39" fmla="*/ 7877 h 12686"/>
              <a:gd name="T40" fmla="*/ 6907 w 9837"/>
              <a:gd name="T41" fmla="*/ 7429 h 12686"/>
              <a:gd name="T42" fmla="*/ 7658 w 9837"/>
              <a:gd name="T43" fmla="*/ 6268 h 12686"/>
              <a:gd name="T44" fmla="*/ 8036 w 9837"/>
              <a:gd name="T45" fmla="*/ 4561 h 12686"/>
              <a:gd name="T46" fmla="*/ 7946 w 9837"/>
              <a:gd name="T47" fmla="*/ 3244 h 12686"/>
              <a:gd name="T48" fmla="*/ 7471 w 9837"/>
              <a:gd name="T49" fmla="*/ 2262 h 12686"/>
              <a:gd name="T50" fmla="*/ 6646 w 9837"/>
              <a:gd name="T51" fmla="*/ 1607 h 12686"/>
              <a:gd name="T52" fmla="*/ 5184 w 9837"/>
              <a:gd name="T53" fmla="*/ 1253 h 12686"/>
              <a:gd name="T54" fmla="*/ 3867 w 9837"/>
              <a:gd name="T55" fmla="*/ 1402 h 12686"/>
              <a:gd name="T56" fmla="*/ 2664 w 9837"/>
              <a:gd name="T57" fmla="*/ 2075 h 12686"/>
              <a:gd name="T58" fmla="*/ 1782 w 9837"/>
              <a:gd name="T59" fmla="*/ 3159 h 12686"/>
              <a:gd name="T60" fmla="*/ 1441 w 9837"/>
              <a:gd name="T61" fmla="*/ 4444 h 12686"/>
              <a:gd name="T62" fmla="*/ 1565 w 9837"/>
              <a:gd name="T63" fmla="*/ 5601 h 12686"/>
              <a:gd name="T64" fmla="*/ 1877 w 9837"/>
              <a:gd name="T65" fmla="*/ 6126 h 12686"/>
              <a:gd name="T66" fmla="*/ 2001 w 9837"/>
              <a:gd name="T67" fmla="*/ 6319 h 12686"/>
              <a:gd name="T68" fmla="*/ 2029 w 9837"/>
              <a:gd name="T69" fmla="*/ 6526 h 12686"/>
              <a:gd name="T70" fmla="*/ 1959 w 9837"/>
              <a:gd name="T71" fmla="*/ 6794 h 12686"/>
              <a:gd name="T72" fmla="*/ 1816 w 9837"/>
              <a:gd name="T73" fmla="*/ 7275 h 12686"/>
              <a:gd name="T74" fmla="*/ 1678 w 9837"/>
              <a:gd name="T75" fmla="*/ 7368 h 12686"/>
              <a:gd name="T76" fmla="*/ 1479 w 9837"/>
              <a:gd name="T77" fmla="*/ 7335 h 12686"/>
              <a:gd name="T78" fmla="*/ 785 w 9837"/>
              <a:gd name="T79" fmla="*/ 6867 h 12686"/>
              <a:gd name="T80" fmla="*/ 124 w 9837"/>
              <a:gd name="T81" fmla="*/ 5565 h 12686"/>
              <a:gd name="T82" fmla="*/ 8 w 9837"/>
              <a:gd name="T83" fmla="*/ 4355 h 12686"/>
              <a:gd name="T84" fmla="*/ 473 w 9837"/>
              <a:gd name="T85" fmla="*/ 2695 h 12686"/>
              <a:gd name="T86" fmla="*/ 1407 w 9837"/>
              <a:gd name="T87" fmla="*/ 1407 h 12686"/>
              <a:gd name="T88" fmla="*/ 2703 w 9837"/>
              <a:gd name="T89" fmla="*/ 537 h 12686"/>
              <a:gd name="T90" fmla="*/ 5376 w 9837"/>
              <a:gd name="T91" fmla="*/ 0 h 12686"/>
              <a:gd name="T92" fmla="*/ 7729 w 9837"/>
              <a:gd name="T93" fmla="*/ 664 h 12686"/>
              <a:gd name="T94" fmla="*/ 8900 w 9837"/>
              <a:gd name="T95" fmla="*/ 1632 h 12686"/>
              <a:gd name="T96" fmla="*/ 9626 w 9837"/>
              <a:gd name="T97" fmla="*/ 2968 h 12686"/>
              <a:gd name="T98" fmla="*/ 9835 w 9837"/>
              <a:gd name="T99" fmla="*/ 4374 h 12686"/>
              <a:gd name="T100" fmla="*/ 9529 w 9837"/>
              <a:gd name="T101" fmla="*/ 6232 h 12686"/>
              <a:gd name="T102" fmla="*/ 8493 w 9837"/>
              <a:gd name="T103" fmla="*/ 8045 h 12686"/>
              <a:gd name="T104" fmla="*/ 7525 w 9837"/>
              <a:gd name="T105" fmla="*/ 8795 h 12686"/>
              <a:gd name="T106" fmla="*/ 6357 w 9837"/>
              <a:gd name="T107" fmla="*/ 9150 h 12686"/>
              <a:gd name="T108" fmla="*/ 5273 w 9837"/>
              <a:gd name="T109" fmla="*/ 9099 h 12686"/>
              <a:gd name="T110" fmla="*/ 4591 w 9837"/>
              <a:gd name="T111" fmla="*/ 8776 h 12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37" h="12686">
                <a:moveTo>
                  <a:pt x="4115" y="8296"/>
                </a:moveTo>
                <a:lnTo>
                  <a:pt x="3659" y="10080"/>
                </a:lnTo>
                <a:lnTo>
                  <a:pt x="3556" y="10434"/>
                </a:lnTo>
                <a:lnTo>
                  <a:pt x="3431" y="10775"/>
                </a:lnTo>
                <a:lnTo>
                  <a:pt x="3284" y="11105"/>
                </a:lnTo>
                <a:lnTo>
                  <a:pt x="3118" y="11425"/>
                </a:lnTo>
                <a:lnTo>
                  <a:pt x="2936" y="11736"/>
                </a:lnTo>
                <a:lnTo>
                  <a:pt x="2740" y="12039"/>
                </a:lnTo>
                <a:lnTo>
                  <a:pt x="2313" y="12628"/>
                </a:lnTo>
                <a:lnTo>
                  <a:pt x="2307" y="12634"/>
                </a:lnTo>
                <a:lnTo>
                  <a:pt x="2301" y="12640"/>
                </a:lnTo>
                <a:lnTo>
                  <a:pt x="2294" y="12646"/>
                </a:lnTo>
                <a:lnTo>
                  <a:pt x="2286" y="12652"/>
                </a:lnTo>
                <a:lnTo>
                  <a:pt x="2278" y="12658"/>
                </a:lnTo>
                <a:lnTo>
                  <a:pt x="2270" y="12663"/>
                </a:lnTo>
                <a:lnTo>
                  <a:pt x="2252" y="12672"/>
                </a:lnTo>
                <a:lnTo>
                  <a:pt x="2243" y="12676"/>
                </a:lnTo>
                <a:lnTo>
                  <a:pt x="2234" y="12679"/>
                </a:lnTo>
                <a:lnTo>
                  <a:pt x="2225" y="12682"/>
                </a:lnTo>
                <a:lnTo>
                  <a:pt x="2216" y="12684"/>
                </a:lnTo>
                <a:lnTo>
                  <a:pt x="2207" y="12685"/>
                </a:lnTo>
                <a:lnTo>
                  <a:pt x="2200" y="12685"/>
                </a:lnTo>
                <a:lnTo>
                  <a:pt x="2192" y="12685"/>
                </a:lnTo>
                <a:lnTo>
                  <a:pt x="2189" y="12684"/>
                </a:lnTo>
                <a:lnTo>
                  <a:pt x="2186" y="12683"/>
                </a:lnTo>
                <a:lnTo>
                  <a:pt x="2179" y="12680"/>
                </a:lnTo>
                <a:lnTo>
                  <a:pt x="2173" y="12676"/>
                </a:lnTo>
                <a:lnTo>
                  <a:pt x="2166" y="12671"/>
                </a:lnTo>
                <a:lnTo>
                  <a:pt x="2160" y="12666"/>
                </a:lnTo>
                <a:lnTo>
                  <a:pt x="2154" y="12659"/>
                </a:lnTo>
                <a:lnTo>
                  <a:pt x="2148" y="12652"/>
                </a:lnTo>
                <a:lnTo>
                  <a:pt x="2143" y="12644"/>
                </a:lnTo>
                <a:lnTo>
                  <a:pt x="2138" y="12636"/>
                </a:lnTo>
                <a:lnTo>
                  <a:pt x="2129" y="12618"/>
                </a:lnTo>
                <a:lnTo>
                  <a:pt x="2121" y="12600"/>
                </a:lnTo>
                <a:lnTo>
                  <a:pt x="2115" y="12581"/>
                </a:lnTo>
                <a:lnTo>
                  <a:pt x="2113" y="12573"/>
                </a:lnTo>
                <a:lnTo>
                  <a:pt x="2112" y="12564"/>
                </a:lnTo>
                <a:lnTo>
                  <a:pt x="2063" y="12174"/>
                </a:lnTo>
                <a:lnTo>
                  <a:pt x="2030" y="11785"/>
                </a:lnTo>
                <a:lnTo>
                  <a:pt x="2013" y="11396"/>
                </a:lnTo>
                <a:lnTo>
                  <a:pt x="2014" y="11008"/>
                </a:lnTo>
                <a:lnTo>
                  <a:pt x="2034" y="10620"/>
                </a:lnTo>
                <a:lnTo>
                  <a:pt x="2075" y="10233"/>
                </a:lnTo>
                <a:lnTo>
                  <a:pt x="2139" y="9846"/>
                </a:lnTo>
                <a:lnTo>
                  <a:pt x="2226" y="9459"/>
                </a:lnTo>
                <a:lnTo>
                  <a:pt x="3051" y="5979"/>
                </a:lnTo>
                <a:lnTo>
                  <a:pt x="3053" y="5966"/>
                </a:lnTo>
                <a:lnTo>
                  <a:pt x="3055" y="5953"/>
                </a:lnTo>
                <a:lnTo>
                  <a:pt x="3057" y="5926"/>
                </a:lnTo>
                <a:lnTo>
                  <a:pt x="3056" y="5898"/>
                </a:lnTo>
                <a:lnTo>
                  <a:pt x="3053" y="5871"/>
                </a:lnTo>
                <a:lnTo>
                  <a:pt x="3049" y="5843"/>
                </a:lnTo>
                <a:lnTo>
                  <a:pt x="3042" y="5815"/>
                </a:lnTo>
                <a:lnTo>
                  <a:pt x="3035" y="5788"/>
                </a:lnTo>
                <a:lnTo>
                  <a:pt x="3027" y="5763"/>
                </a:lnTo>
                <a:lnTo>
                  <a:pt x="2952" y="5522"/>
                </a:lnTo>
                <a:lnTo>
                  <a:pt x="2895" y="5281"/>
                </a:lnTo>
                <a:lnTo>
                  <a:pt x="2858" y="5040"/>
                </a:lnTo>
                <a:lnTo>
                  <a:pt x="2842" y="4798"/>
                </a:lnTo>
                <a:lnTo>
                  <a:pt x="2848" y="4557"/>
                </a:lnTo>
                <a:lnTo>
                  <a:pt x="2876" y="4315"/>
                </a:lnTo>
                <a:lnTo>
                  <a:pt x="2929" y="4073"/>
                </a:lnTo>
                <a:lnTo>
                  <a:pt x="3007" y="3832"/>
                </a:lnTo>
                <a:lnTo>
                  <a:pt x="3050" y="3726"/>
                </a:lnTo>
                <a:lnTo>
                  <a:pt x="3098" y="3624"/>
                </a:lnTo>
                <a:lnTo>
                  <a:pt x="3153" y="3526"/>
                </a:lnTo>
                <a:lnTo>
                  <a:pt x="3213" y="3432"/>
                </a:lnTo>
                <a:lnTo>
                  <a:pt x="3280" y="3343"/>
                </a:lnTo>
                <a:lnTo>
                  <a:pt x="3354" y="3258"/>
                </a:lnTo>
                <a:lnTo>
                  <a:pt x="3434" y="3178"/>
                </a:lnTo>
                <a:lnTo>
                  <a:pt x="3521" y="3104"/>
                </a:lnTo>
                <a:lnTo>
                  <a:pt x="3614" y="3035"/>
                </a:lnTo>
                <a:lnTo>
                  <a:pt x="3711" y="2977"/>
                </a:lnTo>
                <a:lnTo>
                  <a:pt x="3812" y="2929"/>
                </a:lnTo>
                <a:lnTo>
                  <a:pt x="3915" y="2891"/>
                </a:lnTo>
                <a:lnTo>
                  <a:pt x="4022" y="2863"/>
                </a:lnTo>
                <a:lnTo>
                  <a:pt x="4132" y="2846"/>
                </a:lnTo>
                <a:lnTo>
                  <a:pt x="4245" y="2840"/>
                </a:lnTo>
                <a:lnTo>
                  <a:pt x="4362" y="2844"/>
                </a:lnTo>
                <a:lnTo>
                  <a:pt x="4443" y="2854"/>
                </a:lnTo>
                <a:lnTo>
                  <a:pt x="4522" y="2870"/>
                </a:lnTo>
                <a:lnTo>
                  <a:pt x="4598" y="2893"/>
                </a:lnTo>
                <a:lnTo>
                  <a:pt x="4671" y="2922"/>
                </a:lnTo>
                <a:lnTo>
                  <a:pt x="4739" y="2956"/>
                </a:lnTo>
                <a:lnTo>
                  <a:pt x="4805" y="2997"/>
                </a:lnTo>
                <a:lnTo>
                  <a:pt x="4866" y="3043"/>
                </a:lnTo>
                <a:lnTo>
                  <a:pt x="4923" y="3094"/>
                </a:lnTo>
                <a:lnTo>
                  <a:pt x="4976" y="3150"/>
                </a:lnTo>
                <a:lnTo>
                  <a:pt x="5025" y="3211"/>
                </a:lnTo>
                <a:lnTo>
                  <a:pt x="5068" y="3277"/>
                </a:lnTo>
                <a:lnTo>
                  <a:pt x="5107" y="3348"/>
                </a:lnTo>
                <a:lnTo>
                  <a:pt x="5141" y="3422"/>
                </a:lnTo>
                <a:lnTo>
                  <a:pt x="5170" y="3501"/>
                </a:lnTo>
                <a:lnTo>
                  <a:pt x="5193" y="3584"/>
                </a:lnTo>
                <a:lnTo>
                  <a:pt x="5210" y="3670"/>
                </a:lnTo>
                <a:lnTo>
                  <a:pt x="5228" y="3816"/>
                </a:lnTo>
                <a:lnTo>
                  <a:pt x="5232" y="3961"/>
                </a:lnTo>
                <a:lnTo>
                  <a:pt x="5226" y="4105"/>
                </a:lnTo>
                <a:lnTo>
                  <a:pt x="5209" y="4247"/>
                </a:lnTo>
                <a:lnTo>
                  <a:pt x="5185" y="4389"/>
                </a:lnTo>
                <a:lnTo>
                  <a:pt x="5155" y="4529"/>
                </a:lnTo>
                <a:lnTo>
                  <a:pt x="5082" y="4809"/>
                </a:lnTo>
                <a:lnTo>
                  <a:pt x="4617" y="6403"/>
                </a:lnTo>
                <a:lnTo>
                  <a:pt x="4574" y="6584"/>
                </a:lnTo>
                <a:lnTo>
                  <a:pt x="4556" y="6758"/>
                </a:lnTo>
                <a:lnTo>
                  <a:pt x="4562" y="6924"/>
                </a:lnTo>
                <a:lnTo>
                  <a:pt x="4590" y="7081"/>
                </a:lnTo>
                <a:lnTo>
                  <a:pt x="4639" y="7228"/>
                </a:lnTo>
                <a:lnTo>
                  <a:pt x="4706" y="7364"/>
                </a:lnTo>
                <a:lnTo>
                  <a:pt x="4791" y="7487"/>
                </a:lnTo>
                <a:lnTo>
                  <a:pt x="4892" y="7598"/>
                </a:lnTo>
                <a:lnTo>
                  <a:pt x="5008" y="7693"/>
                </a:lnTo>
                <a:lnTo>
                  <a:pt x="5138" y="7774"/>
                </a:lnTo>
                <a:lnTo>
                  <a:pt x="5278" y="7838"/>
                </a:lnTo>
                <a:lnTo>
                  <a:pt x="5430" y="7885"/>
                </a:lnTo>
                <a:lnTo>
                  <a:pt x="5589" y="7914"/>
                </a:lnTo>
                <a:lnTo>
                  <a:pt x="5757" y="7922"/>
                </a:lnTo>
                <a:lnTo>
                  <a:pt x="5930" y="7911"/>
                </a:lnTo>
                <a:lnTo>
                  <a:pt x="6107" y="7877"/>
                </a:lnTo>
                <a:lnTo>
                  <a:pt x="6260" y="7832"/>
                </a:lnTo>
                <a:lnTo>
                  <a:pt x="6405" y="7774"/>
                </a:lnTo>
                <a:lnTo>
                  <a:pt x="6541" y="7704"/>
                </a:lnTo>
                <a:lnTo>
                  <a:pt x="6670" y="7623"/>
                </a:lnTo>
                <a:lnTo>
                  <a:pt x="6792" y="7531"/>
                </a:lnTo>
                <a:lnTo>
                  <a:pt x="6907" y="7429"/>
                </a:lnTo>
                <a:lnTo>
                  <a:pt x="7016" y="7318"/>
                </a:lnTo>
                <a:lnTo>
                  <a:pt x="7118" y="7198"/>
                </a:lnTo>
                <a:lnTo>
                  <a:pt x="7282" y="6978"/>
                </a:lnTo>
                <a:lnTo>
                  <a:pt x="7426" y="6749"/>
                </a:lnTo>
                <a:lnTo>
                  <a:pt x="7551" y="6512"/>
                </a:lnTo>
                <a:lnTo>
                  <a:pt x="7658" y="6268"/>
                </a:lnTo>
                <a:lnTo>
                  <a:pt x="7749" y="6017"/>
                </a:lnTo>
                <a:lnTo>
                  <a:pt x="7826" y="5760"/>
                </a:lnTo>
                <a:lnTo>
                  <a:pt x="7890" y="5498"/>
                </a:lnTo>
                <a:lnTo>
                  <a:pt x="7943" y="5232"/>
                </a:lnTo>
                <a:lnTo>
                  <a:pt x="8012" y="4785"/>
                </a:lnTo>
                <a:lnTo>
                  <a:pt x="8036" y="4561"/>
                </a:lnTo>
                <a:lnTo>
                  <a:pt x="8052" y="4336"/>
                </a:lnTo>
                <a:lnTo>
                  <a:pt x="8056" y="4111"/>
                </a:lnTo>
                <a:lnTo>
                  <a:pt x="8048" y="3887"/>
                </a:lnTo>
                <a:lnTo>
                  <a:pt x="8027" y="3662"/>
                </a:lnTo>
                <a:lnTo>
                  <a:pt x="7990" y="3438"/>
                </a:lnTo>
                <a:lnTo>
                  <a:pt x="7946" y="3244"/>
                </a:lnTo>
                <a:lnTo>
                  <a:pt x="7891" y="3058"/>
                </a:lnTo>
                <a:lnTo>
                  <a:pt x="7827" y="2881"/>
                </a:lnTo>
                <a:lnTo>
                  <a:pt x="7752" y="2713"/>
                </a:lnTo>
                <a:lnTo>
                  <a:pt x="7668" y="2554"/>
                </a:lnTo>
                <a:lnTo>
                  <a:pt x="7574" y="2403"/>
                </a:lnTo>
                <a:lnTo>
                  <a:pt x="7471" y="2262"/>
                </a:lnTo>
                <a:lnTo>
                  <a:pt x="7357" y="2130"/>
                </a:lnTo>
                <a:lnTo>
                  <a:pt x="7234" y="2006"/>
                </a:lnTo>
                <a:lnTo>
                  <a:pt x="7101" y="1892"/>
                </a:lnTo>
                <a:lnTo>
                  <a:pt x="6959" y="1788"/>
                </a:lnTo>
                <a:lnTo>
                  <a:pt x="6807" y="1693"/>
                </a:lnTo>
                <a:lnTo>
                  <a:pt x="6646" y="1607"/>
                </a:lnTo>
                <a:lnTo>
                  <a:pt x="6475" y="1531"/>
                </a:lnTo>
                <a:lnTo>
                  <a:pt x="6295" y="1464"/>
                </a:lnTo>
                <a:lnTo>
                  <a:pt x="6105" y="1408"/>
                </a:lnTo>
                <a:lnTo>
                  <a:pt x="5642" y="1307"/>
                </a:lnTo>
                <a:lnTo>
                  <a:pt x="5412" y="1273"/>
                </a:lnTo>
                <a:lnTo>
                  <a:pt x="5184" y="1253"/>
                </a:lnTo>
                <a:lnTo>
                  <a:pt x="4959" y="1244"/>
                </a:lnTo>
                <a:lnTo>
                  <a:pt x="4735" y="1249"/>
                </a:lnTo>
                <a:lnTo>
                  <a:pt x="4514" y="1266"/>
                </a:lnTo>
                <a:lnTo>
                  <a:pt x="4296" y="1298"/>
                </a:lnTo>
                <a:lnTo>
                  <a:pt x="4080" y="1343"/>
                </a:lnTo>
                <a:lnTo>
                  <a:pt x="3867" y="1402"/>
                </a:lnTo>
                <a:lnTo>
                  <a:pt x="3658" y="1476"/>
                </a:lnTo>
                <a:lnTo>
                  <a:pt x="3451" y="1565"/>
                </a:lnTo>
                <a:lnTo>
                  <a:pt x="3249" y="1669"/>
                </a:lnTo>
                <a:lnTo>
                  <a:pt x="3050" y="1788"/>
                </a:lnTo>
                <a:lnTo>
                  <a:pt x="2855" y="1923"/>
                </a:lnTo>
                <a:lnTo>
                  <a:pt x="2664" y="2075"/>
                </a:lnTo>
                <a:lnTo>
                  <a:pt x="2479" y="2241"/>
                </a:lnTo>
                <a:lnTo>
                  <a:pt x="2309" y="2413"/>
                </a:lnTo>
                <a:lnTo>
                  <a:pt x="2155" y="2590"/>
                </a:lnTo>
                <a:lnTo>
                  <a:pt x="2015" y="2774"/>
                </a:lnTo>
                <a:lnTo>
                  <a:pt x="1891" y="2964"/>
                </a:lnTo>
                <a:lnTo>
                  <a:pt x="1782" y="3159"/>
                </a:lnTo>
                <a:lnTo>
                  <a:pt x="1687" y="3360"/>
                </a:lnTo>
                <a:lnTo>
                  <a:pt x="1608" y="3566"/>
                </a:lnTo>
                <a:lnTo>
                  <a:pt x="1544" y="3778"/>
                </a:lnTo>
                <a:lnTo>
                  <a:pt x="1495" y="3995"/>
                </a:lnTo>
                <a:lnTo>
                  <a:pt x="1460" y="4217"/>
                </a:lnTo>
                <a:lnTo>
                  <a:pt x="1441" y="4444"/>
                </a:lnTo>
                <a:lnTo>
                  <a:pt x="1437" y="4677"/>
                </a:lnTo>
                <a:lnTo>
                  <a:pt x="1447" y="4914"/>
                </a:lnTo>
                <a:lnTo>
                  <a:pt x="1473" y="5156"/>
                </a:lnTo>
                <a:lnTo>
                  <a:pt x="1513" y="5403"/>
                </a:lnTo>
                <a:lnTo>
                  <a:pt x="1536" y="5503"/>
                </a:lnTo>
                <a:lnTo>
                  <a:pt x="1565" y="5601"/>
                </a:lnTo>
                <a:lnTo>
                  <a:pt x="1602" y="5697"/>
                </a:lnTo>
                <a:lnTo>
                  <a:pt x="1644" y="5789"/>
                </a:lnTo>
                <a:lnTo>
                  <a:pt x="1694" y="5879"/>
                </a:lnTo>
                <a:lnTo>
                  <a:pt x="1749" y="5965"/>
                </a:lnTo>
                <a:lnTo>
                  <a:pt x="1810" y="6047"/>
                </a:lnTo>
                <a:lnTo>
                  <a:pt x="1877" y="6126"/>
                </a:lnTo>
                <a:lnTo>
                  <a:pt x="1904" y="6157"/>
                </a:lnTo>
                <a:lnTo>
                  <a:pt x="1929" y="6189"/>
                </a:lnTo>
                <a:lnTo>
                  <a:pt x="1951" y="6221"/>
                </a:lnTo>
                <a:lnTo>
                  <a:pt x="1970" y="6253"/>
                </a:lnTo>
                <a:lnTo>
                  <a:pt x="1987" y="6286"/>
                </a:lnTo>
                <a:lnTo>
                  <a:pt x="2001" y="6319"/>
                </a:lnTo>
                <a:lnTo>
                  <a:pt x="2012" y="6352"/>
                </a:lnTo>
                <a:lnTo>
                  <a:pt x="2021" y="6386"/>
                </a:lnTo>
                <a:lnTo>
                  <a:pt x="2027" y="6420"/>
                </a:lnTo>
                <a:lnTo>
                  <a:pt x="2030" y="6455"/>
                </a:lnTo>
                <a:lnTo>
                  <a:pt x="2031" y="6490"/>
                </a:lnTo>
                <a:lnTo>
                  <a:pt x="2029" y="6526"/>
                </a:lnTo>
                <a:lnTo>
                  <a:pt x="2024" y="6563"/>
                </a:lnTo>
                <a:lnTo>
                  <a:pt x="2016" y="6601"/>
                </a:lnTo>
                <a:lnTo>
                  <a:pt x="2006" y="6640"/>
                </a:lnTo>
                <a:lnTo>
                  <a:pt x="1994" y="6679"/>
                </a:lnTo>
                <a:lnTo>
                  <a:pt x="1975" y="6736"/>
                </a:lnTo>
                <a:lnTo>
                  <a:pt x="1959" y="6794"/>
                </a:lnTo>
                <a:lnTo>
                  <a:pt x="1930" y="6910"/>
                </a:lnTo>
                <a:lnTo>
                  <a:pt x="1874" y="7142"/>
                </a:lnTo>
                <a:lnTo>
                  <a:pt x="1862" y="7181"/>
                </a:lnTo>
                <a:lnTo>
                  <a:pt x="1848" y="7215"/>
                </a:lnTo>
                <a:lnTo>
                  <a:pt x="1833" y="7247"/>
                </a:lnTo>
                <a:lnTo>
                  <a:pt x="1816" y="7275"/>
                </a:lnTo>
                <a:lnTo>
                  <a:pt x="1797" y="7299"/>
                </a:lnTo>
                <a:lnTo>
                  <a:pt x="1777" y="7320"/>
                </a:lnTo>
                <a:lnTo>
                  <a:pt x="1755" y="7337"/>
                </a:lnTo>
                <a:lnTo>
                  <a:pt x="1731" y="7351"/>
                </a:lnTo>
                <a:lnTo>
                  <a:pt x="1705" y="7361"/>
                </a:lnTo>
                <a:lnTo>
                  <a:pt x="1678" y="7368"/>
                </a:lnTo>
                <a:lnTo>
                  <a:pt x="1649" y="7372"/>
                </a:lnTo>
                <a:lnTo>
                  <a:pt x="1618" y="7372"/>
                </a:lnTo>
                <a:lnTo>
                  <a:pt x="1586" y="7368"/>
                </a:lnTo>
                <a:lnTo>
                  <a:pt x="1552" y="7361"/>
                </a:lnTo>
                <a:lnTo>
                  <a:pt x="1516" y="7350"/>
                </a:lnTo>
                <a:lnTo>
                  <a:pt x="1479" y="7335"/>
                </a:lnTo>
                <a:lnTo>
                  <a:pt x="1282" y="7241"/>
                </a:lnTo>
                <a:lnTo>
                  <a:pt x="1102" y="7132"/>
                </a:lnTo>
                <a:lnTo>
                  <a:pt x="1017" y="7071"/>
                </a:lnTo>
                <a:lnTo>
                  <a:pt x="936" y="7007"/>
                </a:lnTo>
                <a:lnTo>
                  <a:pt x="859" y="6939"/>
                </a:lnTo>
                <a:lnTo>
                  <a:pt x="785" y="6867"/>
                </a:lnTo>
                <a:lnTo>
                  <a:pt x="650" y="6713"/>
                </a:lnTo>
                <a:lnTo>
                  <a:pt x="529" y="6545"/>
                </a:lnTo>
                <a:lnTo>
                  <a:pt x="422" y="6364"/>
                </a:lnTo>
                <a:lnTo>
                  <a:pt x="330" y="6170"/>
                </a:lnTo>
                <a:lnTo>
                  <a:pt x="182" y="5767"/>
                </a:lnTo>
                <a:lnTo>
                  <a:pt x="124" y="5565"/>
                </a:lnTo>
                <a:lnTo>
                  <a:pt x="78" y="5363"/>
                </a:lnTo>
                <a:lnTo>
                  <a:pt x="42" y="5162"/>
                </a:lnTo>
                <a:lnTo>
                  <a:pt x="17" y="4960"/>
                </a:lnTo>
                <a:lnTo>
                  <a:pt x="3" y="4758"/>
                </a:lnTo>
                <a:lnTo>
                  <a:pt x="0" y="4556"/>
                </a:lnTo>
                <a:lnTo>
                  <a:pt x="8" y="4355"/>
                </a:lnTo>
                <a:lnTo>
                  <a:pt x="26" y="4153"/>
                </a:lnTo>
                <a:lnTo>
                  <a:pt x="55" y="3952"/>
                </a:lnTo>
                <a:lnTo>
                  <a:pt x="94" y="3751"/>
                </a:lnTo>
                <a:lnTo>
                  <a:pt x="204" y="3350"/>
                </a:lnTo>
                <a:lnTo>
                  <a:pt x="355" y="2951"/>
                </a:lnTo>
                <a:lnTo>
                  <a:pt x="473" y="2695"/>
                </a:lnTo>
                <a:lnTo>
                  <a:pt x="602" y="2450"/>
                </a:lnTo>
                <a:lnTo>
                  <a:pt x="742" y="2218"/>
                </a:lnTo>
                <a:lnTo>
                  <a:pt x="893" y="1998"/>
                </a:lnTo>
                <a:lnTo>
                  <a:pt x="1054" y="1789"/>
                </a:lnTo>
                <a:lnTo>
                  <a:pt x="1226" y="1592"/>
                </a:lnTo>
                <a:lnTo>
                  <a:pt x="1407" y="1407"/>
                </a:lnTo>
                <a:lnTo>
                  <a:pt x="1599" y="1233"/>
                </a:lnTo>
                <a:lnTo>
                  <a:pt x="1801" y="1071"/>
                </a:lnTo>
                <a:lnTo>
                  <a:pt x="2012" y="921"/>
                </a:lnTo>
                <a:lnTo>
                  <a:pt x="2233" y="781"/>
                </a:lnTo>
                <a:lnTo>
                  <a:pt x="2463" y="653"/>
                </a:lnTo>
                <a:lnTo>
                  <a:pt x="2703" y="537"/>
                </a:lnTo>
                <a:lnTo>
                  <a:pt x="2952" y="431"/>
                </a:lnTo>
                <a:lnTo>
                  <a:pt x="3478" y="254"/>
                </a:lnTo>
                <a:lnTo>
                  <a:pt x="3953" y="135"/>
                </a:lnTo>
                <a:lnTo>
                  <a:pt x="4428" y="52"/>
                </a:lnTo>
                <a:lnTo>
                  <a:pt x="4903" y="6"/>
                </a:lnTo>
                <a:lnTo>
                  <a:pt x="5376" y="0"/>
                </a:lnTo>
                <a:lnTo>
                  <a:pt x="5848" y="37"/>
                </a:lnTo>
                <a:lnTo>
                  <a:pt x="6317" y="118"/>
                </a:lnTo>
                <a:lnTo>
                  <a:pt x="6783" y="245"/>
                </a:lnTo>
                <a:lnTo>
                  <a:pt x="7245" y="422"/>
                </a:lnTo>
                <a:lnTo>
                  <a:pt x="7493" y="538"/>
                </a:lnTo>
                <a:lnTo>
                  <a:pt x="7729" y="664"/>
                </a:lnTo>
                <a:lnTo>
                  <a:pt x="7954" y="801"/>
                </a:lnTo>
                <a:lnTo>
                  <a:pt x="8167" y="947"/>
                </a:lnTo>
                <a:lnTo>
                  <a:pt x="8369" y="1103"/>
                </a:lnTo>
                <a:lnTo>
                  <a:pt x="8558" y="1269"/>
                </a:lnTo>
                <a:lnTo>
                  <a:pt x="8735" y="1446"/>
                </a:lnTo>
                <a:lnTo>
                  <a:pt x="8900" y="1632"/>
                </a:lnTo>
                <a:lnTo>
                  <a:pt x="9053" y="1829"/>
                </a:lnTo>
                <a:lnTo>
                  <a:pt x="9193" y="2036"/>
                </a:lnTo>
                <a:lnTo>
                  <a:pt x="9321" y="2254"/>
                </a:lnTo>
                <a:lnTo>
                  <a:pt x="9435" y="2481"/>
                </a:lnTo>
                <a:lnTo>
                  <a:pt x="9537" y="2719"/>
                </a:lnTo>
                <a:lnTo>
                  <a:pt x="9626" y="2968"/>
                </a:lnTo>
                <a:lnTo>
                  <a:pt x="9702" y="3227"/>
                </a:lnTo>
                <a:lnTo>
                  <a:pt x="9765" y="3497"/>
                </a:lnTo>
                <a:lnTo>
                  <a:pt x="9802" y="3716"/>
                </a:lnTo>
                <a:lnTo>
                  <a:pt x="9825" y="3935"/>
                </a:lnTo>
                <a:lnTo>
                  <a:pt x="9836" y="4155"/>
                </a:lnTo>
                <a:lnTo>
                  <a:pt x="9835" y="4374"/>
                </a:lnTo>
                <a:lnTo>
                  <a:pt x="9825" y="4594"/>
                </a:lnTo>
                <a:lnTo>
                  <a:pt x="9806" y="4813"/>
                </a:lnTo>
                <a:lnTo>
                  <a:pt x="9751" y="5252"/>
                </a:lnTo>
                <a:lnTo>
                  <a:pt x="9694" y="5585"/>
                </a:lnTo>
                <a:lnTo>
                  <a:pt x="9620" y="5912"/>
                </a:lnTo>
                <a:lnTo>
                  <a:pt x="9529" y="6232"/>
                </a:lnTo>
                <a:lnTo>
                  <a:pt x="9420" y="6545"/>
                </a:lnTo>
                <a:lnTo>
                  <a:pt x="9291" y="6850"/>
                </a:lnTo>
                <a:lnTo>
                  <a:pt x="9140" y="7146"/>
                </a:lnTo>
                <a:lnTo>
                  <a:pt x="8968" y="7434"/>
                </a:lnTo>
                <a:lnTo>
                  <a:pt x="8772" y="7712"/>
                </a:lnTo>
                <a:lnTo>
                  <a:pt x="8493" y="8045"/>
                </a:lnTo>
                <a:lnTo>
                  <a:pt x="8346" y="8196"/>
                </a:lnTo>
                <a:lnTo>
                  <a:pt x="8193" y="8337"/>
                </a:lnTo>
                <a:lnTo>
                  <a:pt x="8034" y="8467"/>
                </a:lnTo>
                <a:lnTo>
                  <a:pt x="7870" y="8587"/>
                </a:lnTo>
                <a:lnTo>
                  <a:pt x="7701" y="8696"/>
                </a:lnTo>
                <a:lnTo>
                  <a:pt x="7525" y="8795"/>
                </a:lnTo>
                <a:lnTo>
                  <a:pt x="7345" y="8882"/>
                </a:lnTo>
                <a:lnTo>
                  <a:pt x="7159" y="8958"/>
                </a:lnTo>
                <a:lnTo>
                  <a:pt x="6967" y="9023"/>
                </a:lnTo>
                <a:lnTo>
                  <a:pt x="6769" y="9077"/>
                </a:lnTo>
                <a:lnTo>
                  <a:pt x="6566" y="9119"/>
                </a:lnTo>
                <a:lnTo>
                  <a:pt x="6357" y="9150"/>
                </a:lnTo>
                <a:lnTo>
                  <a:pt x="6143" y="9169"/>
                </a:lnTo>
                <a:lnTo>
                  <a:pt x="5922" y="9176"/>
                </a:lnTo>
                <a:lnTo>
                  <a:pt x="5655" y="9165"/>
                </a:lnTo>
                <a:lnTo>
                  <a:pt x="5525" y="9150"/>
                </a:lnTo>
                <a:lnTo>
                  <a:pt x="5398" y="9128"/>
                </a:lnTo>
                <a:lnTo>
                  <a:pt x="5273" y="9099"/>
                </a:lnTo>
                <a:lnTo>
                  <a:pt x="5152" y="9063"/>
                </a:lnTo>
                <a:lnTo>
                  <a:pt x="5034" y="9020"/>
                </a:lnTo>
                <a:lnTo>
                  <a:pt x="4918" y="8970"/>
                </a:lnTo>
                <a:lnTo>
                  <a:pt x="4806" y="8913"/>
                </a:lnTo>
                <a:lnTo>
                  <a:pt x="4697" y="8848"/>
                </a:lnTo>
                <a:lnTo>
                  <a:pt x="4591" y="8776"/>
                </a:lnTo>
                <a:lnTo>
                  <a:pt x="4489" y="8696"/>
                </a:lnTo>
                <a:lnTo>
                  <a:pt x="4390" y="8608"/>
                </a:lnTo>
                <a:lnTo>
                  <a:pt x="4295" y="8512"/>
                </a:lnTo>
                <a:lnTo>
                  <a:pt x="4203" y="8408"/>
                </a:lnTo>
                <a:lnTo>
                  <a:pt x="4115" y="8296"/>
                </a:lnTo>
              </a:path>
            </a:pathLst>
          </a:custGeom>
          <a:solidFill>
            <a:srgbClr val="123563"/>
          </a:solidFill>
          <a:ln>
            <a:noFill/>
          </a:ln>
          <a:effectLst/>
        </p:spPr>
        <p:txBody>
          <a:bodyPr wrap="none" anchor="ctr"/>
          <a:lstStyle/>
          <a:p>
            <a:endParaRPr lang="de-DE" dirty="0">
              <a:latin typeface="BISansOpti"/>
            </a:endParaRPr>
          </a:p>
        </p:txBody>
      </p:sp>
      <p:sp>
        <p:nvSpPr>
          <p:cNvPr id="17" name="Freeform 2"/>
          <p:cNvSpPr>
            <a:spLocks noChangeAspect="1" noChangeArrowheads="1"/>
          </p:cNvSpPr>
          <p:nvPr userDrawn="1"/>
        </p:nvSpPr>
        <p:spPr bwMode="auto">
          <a:xfrm>
            <a:off x="2915299" y="1272056"/>
            <a:ext cx="323999" cy="323999"/>
          </a:xfrm>
          <a:custGeom>
            <a:avLst/>
            <a:gdLst>
              <a:gd name="T0" fmla="*/ 12913 w 14438"/>
              <a:gd name="T1" fmla="*/ 17 h 14438"/>
              <a:gd name="T2" fmla="*/ 13781 w 14438"/>
              <a:gd name="T3" fmla="*/ 392 h 14438"/>
              <a:gd name="T4" fmla="*/ 14305 w 14438"/>
              <a:gd name="T5" fmla="*/ 1097 h 14438"/>
              <a:gd name="T6" fmla="*/ 14432 w 14438"/>
              <a:gd name="T7" fmla="*/ 12796 h 14438"/>
              <a:gd name="T8" fmla="*/ 14249 w 14438"/>
              <a:gd name="T9" fmla="*/ 13460 h 14438"/>
              <a:gd name="T10" fmla="*/ 13703 w 14438"/>
              <a:gd name="T11" fmla="*/ 14108 h 14438"/>
              <a:gd name="T12" fmla="*/ 12896 w 14438"/>
              <a:gd name="T13" fmla="*/ 14422 h 14438"/>
              <a:gd name="T14" fmla="*/ 1127 w 14438"/>
              <a:gd name="T15" fmla="*/ 14320 h 14438"/>
              <a:gd name="T16" fmla="*/ 473 w 14438"/>
              <a:gd name="T17" fmla="*/ 13875 h 14438"/>
              <a:gd name="T18" fmla="*/ 75 w 14438"/>
              <a:gd name="T19" fmla="*/ 13174 h 14438"/>
              <a:gd name="T20" fmla="*/ 19 w 14438"/>
              <a:gd name="T21" fmla="*/ 1490 h 14438"/>
              <a:gd name="T22" fmla="*/ 243 w 14438"/>
              <a:gd name="T23" fmla="*/ 870 h 14438"/>
              <a:gd name="T24" fmla="*/ 717 w 14438"/>
              <a:gd name="T25" fmla="*/ 343 h 14438"/>
              <a:gd name="T26" fmla="*/ 1356 w 14438"/>
              <a:gd name="T27" fmla="*/ 46 h 14438"/>
              <a:gd name="T28" fmla="*/ 11674 w 14438"/>
              <a:gd name="T29" fmla="*/ 6803 h 14438"/>
              <a:gd name="T30" fmla="*/ 11511 w 14438"/>
              <a:gd name="T31" fmla="*/ 8713 h 14438"/>
              <a:gd name="T32" fmla="*/ 10505 w 14438"/>
              <a:gd name="T33" fmla="*/ 10313 h 14438"/>
              <a:gd name="T34" fmla="*/ 8796 w 14438"/>
              <a:gd name="T35" fmla="*/ 11441 h 14438"/>
              <a:gd name="T36" fmla="*/ 6950 w 14438"/>
              <a:gd name="T37" fmla="*/ 11727 h 14438"/>
              <a:gd name="T38" fmla="*/ 5067 w 14438"/>
              <a:gd name="T39" fmla="*/ 11137 h 14438"/>
              <a:gd name="T40" fmla="*/ 3387 w 14438"/>
              <a:gd name="T41" fmla="*/ 9647 h 14438"/>
              <a:gd name="T42" fmla="*/ 2759 w 14438"/>
              <a:gd name="T43" fmla="*/ 7666 h 14438"/>
              <a:gd name="T44" fmla="*/ 1801 w 14438"/>
              <a:gd name="T45" fmla="*/ 6048 h 14438"/>
              <a:gd name="T46" fmla="*/ 1831 w 14438"/>
              <a:gd name="T47" fmla="*/ 12398 h 14438"/>
              <a:gd name="T48" fmla="*/ 1969 w 14438"/>
              <a:gd name="T49" fmla="*/ 12574 h 14438"/>
              <a:gd name="T50" fmla="*/ 2231 w 14438"/>
              <a:gd name="T51" fmla="*/ 12635 h 14438"/>
              <a:gd name="T52" fmla="*/ 12355 w 14438"/>
              <a:gd name="T53" fmla="*/ 12615 h 14438"/>
              <a:gd name="T54" fmla="*/ 12494 w 14438"/>
              <a:gd name="T55" fmla="*/ 12559 h 14438"/>
              <a:gd name="T56" fmla="*/ 12584 w 14438"/>
              <a:gd name="T57" fmla="*/ 12451 h 14438"/>
              <a:gd name="T58" fmla="*/ 12630 w 14438"/>
              <a:gd name="T59" fmla="*/ 12242 h 14438"/>
              <a:gd name="T60" fmla="*/ 7228 w 14438"/>
              <a:gd name="T61" fmla="*/ 10019 h 14438"/>
              <a:gd name="T62" fmla="*/ 8762 w 14438"/>
              <a:gd name="T63" fmla="*/ 9581 h 14438"/>
              <a:gd name="T64" fmla="*/ 9907 w 14438"/>
              <a:gd name="T65" fmla="*/ 8263 h 14438"/>
              <a:gd name="T66" fmla="*/ 10045 w 14438"/>
              <a:gd name="T67" fmla="*/ 6516 h 14438"/>
              <a:gd name="T68" fmla="*/ 9166 w 14438"/>
              <a:gd name="T69" fmla="*/ 5099 h 14438"/>
              <a:gd name="T70" fmla="*/ 7702 w 14438"/>
              <a:gd name="T71" fmla="*/ 4419 h 14438"/>
              <a:gd name="T72" fmla="*/ 6052 w 14438"/>
              <a:gd name="T73" fmla="*/ 4623 h 14438"/>
              <a:gd name="T74" fmla="*/ 4844 w 14438"/>
              <a:gd name="T75" fmla="*/ 5593 h 14438"/>
              <a:gd name="T76" fmla="*/ 4336 w 14438"/>
              <a:gd name="T77" fmla="*/ 7017 h 14438"/>
              <a:gd name="T78" fmla="*/ 4649 w 14438"/>
              <a:gd name="T79" fmla="*/ 8481 h 14438"/>
              <a:gd name="T80" fmla="*/ 5608 w 14438"/>
              <a:gd name="T81" fmla="*/ 9522 h 14438"/>
              <a:gd name="T82" fmla="*/ 6977 w 14438"/>
              <a:gd name="T83" fmla="*/ 10006 h 14438"/>
              <a:gd name="T84" fmla="*/ 9947 w 14438"/>
              <a:gd name="T85" fmla="*/ 4184 h 14438"/>
              <a:gd name="T86" fmla="*/ 10089 w 14438"/>
              <a:gd name="T87" fmla="*/ 4407 h 14438"/>
              <a:gd name="T88" fmla="*/ 10342 w 14438"/>
              <a:gd name="T89" fmla="*/ 4506 h 14438"/>
              <a:gd name="T90" fmla="*/ 12359 w 14438"/>
              <a:gd name="T91" fmla="*/ 4474 h 14438"/>
              <a:gd name="T92" fmla="*/ 12560 w 14438"/>
              <a:gd name="T93" fmla="*/ 4309 h 14438"/>
              <a:gd name="T94" fmla="*/ 12635 w 14438"/>
              <a:gd name="T95" fmla="*/ 4037 h 14438"/>
              <a:gd name="T96" fmla="*/ 12582 w 14438"/>
              <a:gd name="T97" fmla="*/ 2038 h 14438"/>
              <a:gd name="T98" fmla="*/ 12395 w 14438"/>
              <a:gd name="T99" fmla="*/ 1854 h 14438"/>
              <a:gd name="T100" fmla="*/ 10408 w 14438"/>
              <a:gd name="T101" fmla="*/ 1802 h 14438"/>
              <a:gd name="T102" fmla="*/ 10126 w 14438"/>
              <a:gd name="T103" fmla="*/ 1877 h 14438"/>
              <a:gd name="T104" fmla="*/ 9962 w 14438"/>
              <a:gd name="T105" fmla="*/ 2086 h 1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38" h="14438">
                <a:moveTo>
                  <a:pt x="12872" y="0"/>
                </a:moveTo>
                <a:lnTo>
                  <a:pt x="12892" y="10"/>
                </a:lnTo>
                <a:lnTo>
                  <a:pt x="12897" y="12"/>
                </a:lnTo>
                <a:lnTo>
                  <a:pt x="12903" y="14"/>
                </a:lnTo>
                <a:lnTo>
                  <a:pt x="12908" y="16"/>
                </a:lnTo>
                <a:lnTo>
                  <a:pt x="12913" y="17"/>
                </a:lnTo>
                <a:lnTo>
                  <a:pt x="13079" y="54"/>
                </a:lnTo>
                <a:lnTo>
                  <a:pt x="13237" y="102"/>
                </a:lnTo>
                <a:lnTo>
                  <a:pt x="13387" y="160"/>
                </a:lnTo>
                <a:lnTo>
                  <a:pt x="13527" y="227"/>
                </a:lnTo>
                <a:lnTo>
                  <a:pt x="13659" y="305"/>
                </a:lnTo>
                <a:lnTo>
                  <a:pt x="13781" y="392"/>
                </a:lnTo>
                <a:lnTo>
                  <a:pt x="13894" y="488"/>
                </a:lnTo>
                <a:lnTo>
                  <a:pt x="13997" y="594"/>
                </a:lnTo>
                <a:lnTo>
                  <a:pt x="14089" y="707"/>
                </a:lnTo>
                <a:lnTo>
                  <a:pt x="14172" y="829"/>
                </a:lnTo>
                <a:lnTo>
                  <a:pt x="14244" y="959"/>
                </a:lnTo>
                <a:lnTo>
                  <a:pt x="14305" y="1097"/>
                </a:lnTo>
                <a:lnTo>
                  <a:pt x="14355" y="1242"/>
                </a:lnTo>
                <a:lnTo>
                  <a:pt x="14394" y="1394"/>
                </a:lnTo>
                <a:lnTo>
                  <a:pt x="14421" y="1553"/>
                </a:lnTo>
                <a:lnTo>
                  <a:pt x="14437" y="1718"/>
                </a:lnTo>
                <a:lnTo>
                  <a:pt x="14437" y="12716"/>
                </a:lnTo>
                <a:lnTo>
                  <a:pt x="14432" y="12796"/>
                </a:lnTo>
                <a:lnTo>
                  <a:pt x="14424" y="12876"/>
                </a:lnTo>
                <a:lnTo>
                  <a:pt x="14412" y="12955"/>
                </a:lnTo>
                <a:lnTo>
                  <a:pt x="14397" y="13033"/>
                </a:lnTo>
                <a:lnTo>
                  <a:pt x="14358" y="13182"/>
                </a:lnTo>
                <a:lnTo>
                  <a:pt x="14308" y="13325"/>
                </a:lnTo>
                <a:lnTo>
                  <a:pt x="14249" y="13460"/>
                </a:lnTo>
                <a:lnTo>
                  <a:pt x="14179" y="13588"/>
                </a:lnTo>
                <a:lnTo>
                  <a:pt x="14101" y="13709"/>
                </a:lnTo>
                <a:lnTo>
                  <a:pt x="14014" y="13821"/>
                </a:lnTo>
                <a:lnTo>
                  <a:pt x="13918" y="13925"/>
                </a:lnTo>
                <a:lnTo>
                  <a:pt x="13814" y="14021"/>
                </a:lnTo>
                <a:lnTo>
                  <a:pt x="13703" y="14108"/>
                </a:lnTo>
                <a:lnTo>
                  <a:pt x="13584" y="14185"/>
                </a:lnTo>
                <a:lnTo>
                  <a:pt x="13458" y="14253"/>
                </a:lnTo>
                <a:lnTo>
                  <a:pt x="13326" y="14311"/>
                </a:lnTo>
                <a:lnTo>
                  <a:pt x="13189" y="14358"/>
                </a:lnTo>
                <a:lnTo>
                  <a:pt x="13045" y="14396"/>
                </a:lnTo>
                <a:lnTo>
                  <a:pt x="12896" y="14422"/>
                </a:lnTo>
                <a:lnTo>
                  <a:pt x="12743" y="14437"/>
                </a:lnTo>
                <a:lnTo>
                  <a:pt x="1655" y="14437"/>
                </a:lnTo>
                <a:lnTo>
                  <a:pt x="1518" y="14423"/>
                </a:lnTo>
                <a:lnTo>
                  <a:pt x="1384" y="14398"/>
                </a:lnTo>
                <a:lnTo>
                  <a:pt x="1253" y="14364"/>
                </a:lnTo>
                <a:lnTo>
                  <a:pt x="1127" y="14320"/>
                </a:lnTo>
                <a:lnTo>
                  <a:pt x="1004" y="14266"/>
                </a:lnTo>
                <a:lnTo>
                  <a:pt x="887" y="14204"/>
                </a:lnTo>
                <a:lnTo>
                  <a:pt x="774" y="14134"/>
                </a:lnTo>
                <a:lnTo>
                  <a:pt x="668" y="14055"/>
                </a:lnTo>
                <a:lnTo>
                  <a:pt x="567" y="13969"/>
                </a:lnTo>
                <a:lnTo>
                  <a:pt x="473" y="13875"/>
                </a:lnTo>
                <a:lnTo>
                  <a:pt x="387" y="13774"/>
                </a:lnTo>
                <a:lnTo>
                  <a:pt x="307" y="13666"/>
                </a:lnTo>
                <a:lnTo>
                  <a:pt x="236" y="13552"/>
                </a:lnTo>
                <a:lnTo>
                  <a:pt x="173" y="13431"/>
                </a:lnTo>
                <a:lnTo>
                  <a:pt x="119" y="13305"/>
                </a:lnTo>
                <a:lnTo>
                  <a:pt x="75" y="13174"/>
                </a:lnTo>
                <a:lnTo>
                  <a:pt x="55" y="13101"/>
                </a:lnTo>
                <a:lnTo>
                  <a:pt x="36" y="13028"/>
                </a:lnTo>
                <a:lnTo>
                  <a:pt x="0" y="12881"/>
                </a:lnTo>
                <a:lnTo>
                  <a:pt x="0" y="1558"/>
                </a:lnTo>
                <a:lnTo>
                  <a:pt x="13" y="1513"/>
                </a:lnTo>
                <a:lnTo>
                  <a:pt x="19" y="1490"/>
                </a:lnTo>
                <a:lnTo>
                  <a:pt x="24" y="1468"/>
                </a:lnTo>
                <a:lnTo>
                  <a:pt x="55" y="1337"/>
                </a:lnTo>
                <a:lnTo>
                  <a:pt x="92" y="1211"/>
                </a:lnTo>
                <a:lnTo>
                  <a:pt x="136" y="1092"/>
                </a:lnTo>
                <a:lnTo>
                  <a:pt x="186" y="978"/>
                </a:lnTo>
                <a:lnTo>
                  <a:pt x="243" y="870"/>
                </a:lnTo>
                <a:lnTo>
                  <a:pt x="306" y="767"/>
                </a:lnTo>
                <a:lnTo>
                  <a:pt x="375" y="671"/>
                </a:lnTo>
                <a:lnTo>
                  <a:pt x="451" y="580"/>
                </a:lnTo>
                <a:lnTo>
                  <a:pt x="533" y="495"/>
                </a:lnTo>
                <a:lnTo>
                  <a:pt x="622" y="416"/>
                </a:lnTo>
                <a:lnTo>
                  <a:pt x="717" y="343"/>
                </a:lnTo>
                <a:lnTo>
                  <a:pt x="819" y="276"/>
                </a:lnTo>
                <a:lnTo>
                  <a:pt x="927" y="214"/>
                </a:lnTo>
                <a:lnTo>
                  <a:pt x="1042" y="159"/>
                </a:lnTo>
                <a:lnTo>
                  <a:pt x="1163" y="109"/>
                </a:lnTo>
                <a:lnTo>
                  <a:pt x="1291" y="65"/>
                </a:lnTo>
                <a:lnTo>
                  <a:pt x="1356" y="46"/>
                </a:lnTo>
                <a:lnTo>
                  <a:pt x="1422" y="30"/>
                </a:lnTo>
                <a:lnTo>
                  <a:pt x="1554" y="0"/>
                </a:lnTo>
                <a:lnTo>
                  <a:pt x="12872" y="0"/>
                </a:lnTo>
                <a:close/>
                <a:moveTo>
                  <a:pt x="11550" y="6105"/>
                </a:moveTo>
                <a:lnTo>
                  <a:pt x="11623" y="6457"/>
                </a:lnTo>
                <a:lnTo>
                  <a:pt x="11674" y="6803"/>
                </a:lnTo>
                <a:lnTo>
                  <a:pt x="11703" y="7141"/>
                </a:lnTo>
                <a:lnTo>
                  <a:pt x="11710" y="7472"/>
                </a:lnTo>
                <a:lnTo>
                  <a:pt x="11695" y="7794"/>
                </a:lnTo>
                <a:lnTo>
                  <a:pt x="11656" y="8109"/>
                </a:lnTo>
                <a:lnTo>
                  <a:pt x="11595" y="8415"/>
                </a:lnTo>
                <a:lnTo>
                  <a:pt x="11511" y="8713"/>
                </a:lnTo>
                <a:lnTo>
                  <a:pt x="11404" y="9002"/>
                </a:lnTo>
                <a:lnTo>
                  <a:pt x="11272" y="9283"/>
                </a:lnTo>
                <a:lnTo>
                  <a:pt x="11117" y="9554"/>
                </a:lnTo>
                <a:lnTo>
                  <a:pt x="10937" y="9817"/>
                </a:lnTo>
                <a:lnTo>
                  <a:pt x="10733" y="10070"/>
                </a:lnTo>
                <a:lnTo>
                  <a:pt x="10505" y="10313"/>
                </a:lnTo>
                <a:lnTo>
                  <a:pt x="10251" y="10547"/>
                </a:lnTo>
                <a:lnTo>
                  <a:pt x="9972" y="10770"/>
                </a:lnTo>
                <a:lnTo>
                  <a:pt x="9684" y="10973"/>
                </a:lnTo>
                <a:lnTo>
                  <a:pt x="9391" y="11153"/>
                </a:lnTo>
                <a:lnTo>
                  <a:pt x="9095" y="11309"/>
                </a:lnTo>
                <a:lnTo>
                  <a:pt x="8796" y="11441"/>
                </a:lnTo>
                <a:lnTo>
                  <a:pt x="8493" y="11549"/>
                </a:lnTo>
                <a:lnTo>
                  <a:pt x="8189" y="11633"/>
                </a:lnTo>
                <a:lnTo>
                  <a:pt x="7881" y="11693"/>
                </a:lnTo>
                <a:lnTo>
                  <a:pt x="7572" y="11728"/>
                </a:lnTo>
                <a:lnTo>
                  <a:pt x="7262" y="11740"/>
                </a:lnTo>
                <a:lnTo>
                  <a:pt x="6950" y="11727"/>
                </a:lnTo>
                <a:lnTo>
                  <a:pt x="6636" y="11690"/>
                </a:lnTo>
                <a:lnTo>
                  <a:pt x="6323" y="11629"/>
                </a:lnTo>
                <a:lnTo>
                  <a:pt x="6008" y="11543"/>
                </a:lnTo>
                <a:lnTo>
                  <a:pt x="5694" y="11432"/>
                </a:lnTo>
                <a:lnTo>
                  <a:pt x="5380" y="11297"/>
                </a:lnTo>
                <a:lnTo>
                  <a:pt x="5067" y="11137"/>
                </a:lnTo>
                <a:lnTo>
                  <a:pt x="4711" y="10926"/>
                </a:lnTo>
                <a:lnTo>
                  <a:pt x="4386" y="10699"/>
                </a:lnTo>
                <a:lnTo>
                  <a:pt x="4092" y="10457"/>
                </a:lnTo>
                <a:lnTo>
                  <a:pt x="3827" y="10202"/>
                </a:lnTo>
                <a:lnTo>
                  <a:pt x="3592" y="9931"/>
                </a:lnTo>
                <a:lnTo>
                  <a:pt x="3387" y="9647"/>
                </a:lnTo>
                <a:lnTo>
                  <a:pt x="3210" y="9349"/>
                </a:lnTo>
                <a:lnTo>
                  <a:pt x="3063" y="9038"/>
                </a:lnTo>
                <a:lnTo>
                  <a:pt x="2945" y="8714"/>
                </a:lnTo>
                <a:lnTo>
                  <a:pt x="2855" y="8377"/>
                </a:lnTo>
                <a:lnTo>
                  <a:pt x="2793" y="8028"/>
                </a:lnTo>
                <a:lnTo>
                  <a:pt x="2759" y="7666"/>
                </a:lnTo>
                <a:lnTo>
                  <a:pt x="2753" y="7292"/>
                </a:lnTo>
                <a:lnTo>
                  <a:pt x="2774" y="6907"/>
                </a:lnTo>
                <a:lnTo>
                  <a:pt x="2822" y="6510"/>
                </a:lnTo>
                <a:lnTo>
                  <a:pt x="2898" y="6103"/>
                </a:lnTo>
                <a:lnTo>
                  <a:pt x="1801" y="5865"/>
                </a:lnTo>
                <a:lnTo>
                  <a:pt x="1801" y="6048"/>
                </a:lnTo>
                <a:lnTo>
                  <a:pt x="1801" y="11985"/>
                </a:lnTo>
                <a:lnTo>
                  <a:pt x="1802" y="12211"/>
                </a:lnTo>
                <a:lnTo>
                  <a:pt x="1805" y="12263"/>
                </a:lnTo>
                <a:lnTo>
                  <a:pt x="1810" y="12312"/>
                </a:lnTo>
                <a:lnTo>
                  <a:pt x="1819" y="12357"/>
                </a:lnTo>
                <a:lnTo>
                  <a:pt x="1831" y="12398"/>
                </a:lnTo>
                <a:lnTo>
                  <a:pt x="1846" y="12436"/>
                </a:lnTo>
                <a:lnTo>
                  <a:pt x="1864" y="12470"/>
                </a:lnTo>
                <a:lnTo>
                  <a:pt x="1885" y="12501"/>
                </a:lnTo>
                <a:lnTo>
                  <a:pt x="1910" y="12529"/>
                </a:lnTo>
                <a:lnTo>
                  <a:pt x="1938" y="12553"/>
                </a:lnTo>
                <a:lnTo>
                  <a:pt x="1969" y="12574"/>
                </a:lnTo>
                <a:lnTo>
                  <a:pt x="2004" y="12592"/>
                </a:lnTo>
                <a:lnTo>
                  <a:pt x="2042" y="12606"/>
                </a:lnTo>
                <a:lnTo>
                  <a:pt x="2084" y="12618"/>
                </a:lnTo>
                <a:lnTo>
                  <a:pt x="2129" y="12627"/>
                </a:lnTo>
                <a:lnTo>
                  <a:pt x="2178" y="12632"/>
                </a:lnTo>
                <a:lnTo>
                  <a:pt x="2231" y="12635"/>
                </a:lnTo>
                <a:lnTo>
                  <a:pt x="2315" y="12636"/>
                </a:lnTo>
                <a:lnTo>
                  <a:pt x="12118" y="12635"/>
                </a:lnTo>
                <a:lnTo>
                  <a:pt x="12178" y="12634"/>
                </a:lnTo>
                <a:lnTo>
                  <a:pt x="12237" y="12630"/>
                </a:lnTo>
                <a:lnTo>
                  <a:pt x="12296" y="12624"/>
                </a:lnTo>
                <a:lnTo>
                  <a:pt x="12355" y="12615"/>
                </a:lnTo>
                <a:lnTo>
                  <a:pt x="12382" y="12609"/>
                </a:lnTo>
                <a:lnTo>
                  <a:pt x="12407" y="12602"/>
                </a:lnTo>
                <a:lnTo>
                  <a:pt x="12431" y="12593"/>
                </a:lnTo>
                <a:lnTo>
                  <a:pt x="12453" y="12583"/>
                </a:lnTo>
                <a:lnTo>
                  <a:pt x="12474" y="12572"/>
                </a:lnTo>
                <a:lnTo>
                  <a:pt x="12494" y="12559"/>
                </a:lnTo>
                <a:lnTo>
                  <a:pt x="12513" y="12544"/>
                </a:lnTo>
                <a:lnTo>
                  <a:pt x="12530" y="12528"/>
                </a:lnTo>
                <a:lnTo>
                  <a:pt x="12545" y="12511"/>
                </a:lnTo>
                <a:lnTo>
                  <a:pt x="12560" y="12493"/>
                </a:lnTo>
                <a:lnTo>
                  <a:pt x="12573" y="12473"/>
                </a:lnTo>
                <a:lnTo>
                  <a:pt x="12584" y="12451"/>
                </a:lnTo>
                <a:lnTo>
                  <a:pt x="12594" y="12429"/>
                </a:lnTo>
                <a:lnTo>
                  <a:pt x="12602" y="12405"/>
                </a:lnTo>
                <a:lnTo>
                  <a:pt x="12610" y="12380"/>
                </a:lnTo>
                <a:lnTo>
                  <a:pt x="12615" y="12353"/>
                </a:lnTo>
                <a:lnTo>
                  <a:pt x="12624" y="12298"/>
                </a:lnTo>
                <a:lnTo>
                  <a:pt x="12630" y="12242"/>
                </a:lnTo>
                <a:lnTo>
                  <a:pt x="12634" y="12186"/>
                </a:lnTo>
                <a:lnTo>
                  <a:pt x="12635" y="12130"/>
                </a:lnTo>
                <a:lnTo>
                  <a:pt x="12636" y="6023"/>
                </a:lnTo>
                <a:lnTo>
                  <a:pt x="12636" y="5865"/>
                </a:lnTo>
                <a:lnTo>
                  <a:pt x="11550" y="6105"/>
                </a:lnTo>
                <a:close/>
                <a:moveTo>
                  <a:pt x="7228" y="10019"/>
                </a:moveTo>
                <a:lnTo>
                  <a:pt x="7564" y="9978"/>
                </a:lnTo>
                <a:lnTo>
                  <a:pt x="7731" y="9954"/>
                </a:lnTo>
                <a:lnTo>
                  <a:pt x="7897" y="9923"/>
                </a:lnTo>
                <a:lnTo>
                  <a:pt x="8204" y="9839"/>
                </a:lnTo>
                <a:lnTo>
                  <a:pt x="8493" y="9724"/>
                </a:lnTo>
                <a:lnTo>
                  <a:pt x="8762" y="9581"/>
                </a:lnTo>
                <a:lnTo>
                  <a:pt x="9011" y="9412"/>
                </a:lnTo>
                <a:lnTo>
                  <a:pt x="9239" y="9220"/>
                </a:lnTo>
                <a:lnTo>
                  <a:pt x="9443" y="9007"/>
                </a:lnTo>
                <a:lnTo>
                  <a:pt x="9624" y="8775"/>
                </a:lnTo>
                <a:lnTo>
                  <a:pt x="9779" y="8526"/>
                </a:lnTo>
                <a:lnTo>
                  <a:pt x="9907" y="8263"/>
                </a:lnTo>
                <a:lnTo>
                  <a:pt x="10007" y="7988"/>
                </a:lnTo>
                <a:lnTo>
                  <a:pt x="10078" y="7704"/>
                </a:lnTo>
                <a:lnTo>
                  <a:pt x="10119" y="7412"/>
                </a:lnTo>
                <a:lnTo>
                  <a:pt x="10128" y="7115"/>
                </a:lnTo>
                <a:lnTo>
                  <a:pt x="10103" y="6816"/>
                </a:lnTo>
                <a:lnTo>
                  <a:pt x="10045" y="6516"/>
                </a:lnTo>
                <a:lnTo>
                  <a:pt x="9950" y="6218"/>
                </a:lnTo>
                <a:lnTo>
                  <a:pt x="9837" y="5959"/>
                </a:lnTo>
                <a:lnTo>
                  <a:pt x="9700" y="5717"/>
                </a:lnTo>
                <a:lnTo>
                  <a:pt x="9541" y="5493"/>
                </a:lnTo>
                <a:lnTo>
                  <a:pt x="9363" y="5286"/>
                </a:lnTo>
                <a:lnTo>
                  <a:pt x="9166" y="5099"/>
                </a:lnTo>
                <a:lnTo>
                  <a:pt x="8952" y="4931"/>
                </a:lnTo>
                <a:lnTo>
                  <a:pt x="8724" y="4784"/>
                </a:lnTo>
                <a:lnTo>
                  <a:pt x="8484" y="4658"/>
                </a:lnTo>
                <a:lnTo>
                  <a:pt x="8232" y="4555"/>
                </a:lnTo>
                <a:lnTo>
                  <a:pt x="7970" y="4475"/>
                </a:lnTo>
                <a:lnTo>
                  <a:pt x="7702" y="4419"/>
                </a:lnTo>
                <a:lnTo>
                  <a:pt x="7428" y="4387"/>
                </a:lnTo>
                <a:lnTo>
                  <a:pt x="7149" y="4381"/>
                </a:lnTo>
                <a:lnTo>
                  <a:pt x="6869" y="4402"/>
                </a:lnTo>
                <a:lnTo>
                  <a:pt x="6589" y="4450"/>
                </a:lnTo>
                <a:lnTo>
                  <a:pt x="6310" y="4526"/>
                </a:lnTo>
                <a:lnTo>
                  <a:pt x="6052" y="4623"/>
                </a:lnTo>
                <a:lnTo>
                  <a:pt x="5809" y="4741"/>
                </a:lnTo>
                <a:lnTo>
                  <a:pt x="5582" y="4878"/>
                </a:lnTo>
                <a:lnTo>
                  <a:pt x="5371" y="5033"/>
                </a:lnTo>
                <a:lnTo>
                  <a:pt x="5177" y="5205"/>
                </a:lnTo>
                <a:lnTo>
                  <a:pt x="5001" y="5392"/>
                </a:lnTo>
                <a:lnTo>
                  <a:pt x="4844" y="5593"/>
                </a:lnTo>
                <a:lnTo>
                  <a:pt x="4706" y="5807"/>
                </a:lnTo>
                <a:lnTo>
                  <a:pt x="4588" y="6032"/>
                </a:lnTo>
                <a:lnTo>
                  <a:pt x="4492" y="6267"/>
                </a:lnTo>
                <a:lnTo>
                  <a:pt x="4417" y="6510"/>
                </a:lnTo>
                <a:lnTo>
                  <a:pt x="4365" y="6761"/>
                </a:lnTo>
                <a:lnTo>
                  <a:pt x="4336" y="7017"/>
                </a:lnTo>
                <a:lnTo>
                  <a:pt x="4332" y="7278"/>
                </a:lnTo>
                <a:lnTo>
                  <a:pt x="4352" y="7542"/>
                </a:lnTo>
                <a:lnTo>
                  <a:pt x="4399" y="7807"/>
                </a:lnTo>
                <a:lnTo>
                  <a:pt x="4462" y="8041"/>
                </a:lnTo>
                <a:lnTo>
                  <a:pt x="4546" y="8266"/>
                </a:lnTo>
                <a:lnTo>
                  <a:pt x="4649" y="8481"/>
                </a:lnTo>
                <a:lnTo>
                  <a:pt x="4771" y="8686"/>
                </a:lnTo>
                <a:lnTo>
                  <a:pt x="4909" y="8879"/>
                </a:lnTo>
                <a:lnTo>
                  <a:pt x="5062" y="9060"/>
                </a:lnTo>
                <a:lnTo>
                  <a:pt x="5231" y="9228"/>
                </a:lnTo>
                <a:lnTo>
                  <a:pt x="5413" y="9382"/>
                </a:lnTo>
                <a:lnTo>
                  <a:pt x="5608" y="9522"/>
                </a:lnTo>
                <a:lnTo>
                  <a:pt x="5814" y="9646"/>
                </a:lnTo>
                <a:lnTo>
                  <a:pt x="6030" y="9754"/>
                </a:lnTo>
                <a:lnTo>
                  <a:pt x="6256" y="9845"/>
                </a:lnTo>
                <a:lnTo>
                  <a:pt x="6490" y="9918"/>
                </a:lnTo>
                <a:lnTo>
                  <a:pt x="6730" y="9971"/>
                </a:lnTo>
                <a:lnTo>
                  <a:pt x="6977" y="10006"/>
                </a:lnTo>
                <a:lnTo>
                  <a:pt x="7228" y="10019"/>
                </a:lnTo>
                <a:close/>
                <a:moveTo>
                  <a:pt x="9927" y="3148"/>
                </a:moveTo>
                <a:lnTo>
                  <a:pt x="9927" y="4036"/>
                </a:lnTo>
                <a:lnTo>
                  <a:pt x="9930" y="4087"/>
                </a:lnTo>
                <a:lnTo>
                  <a:pt x="9936" y="4137"/>
                </a:lnTo>
                <a:lnTo>
                  <a:pt x="9947" y="4184"/>
                </a:lnTo>
                <a:lnTo>
                  <a:pt x="9962" y="4228"/>
                </a:lnTo>
                <a:lnTo>
                  <a:pt x="9980" y="4270"/>
                </a:lnTo>
                <a:lnTo>
                  <a:pt x="10002" y="4309"/>
                </a:lnTo>
                <a:lnTo>
                  <a:pt x="10028" y="4345"/>
                </a:lnTo>
                <a:lnTo>
                  <a:pt x="10056" y="4378"/>
                </a:lnTo>
                <a:lnTo>
                  <a:pt x="10089" y="4407"/>
                </a:lnTo>
                <a:lnTo>
                  <a:pt x="10124" y="4433"/>
                </a:lnTo>
                <a:lnTo>
                  <a:pt x="10162" y="4455"/>
                </a:lnTo>
                <a:lnTo>
                  <a:pt x="10203" y="4474"/>
                </a:lnTo>
                <a:lnTo>
                  <a:pt x="10247" y="4489"/>
                </a:lnTo>
                <a:lnTo>
                  <a:pt x="10293" y="4500"/>
                </a:lnTo>
                <a:lnTo>
                  <a:pt x="10342" y="4506"/>
                </a:lnTo>
                <a:lnTo>
                  <a:pt x="10393" y="4509"/>
                </a:lnTo>
                <a:lnTo>
                  <a:pt x="12168" y="4509"/>
                </a:lnTo>
                <a:lnTo>
                  <a:pt x="12219" y="4506"/>
                </a:lnTo>
                <a:lnTo>
                  <a:pt x="12268" y="4500"/>
                </a:lnTo>
                <a:lnTo>
                  <a:pt x="12315" y="4489"/>
                </a:lnTo>
                <a:lnTo>
                  <a:pt x="12359" y="4474"/>
                </a:lnTo>
                <a:lnTo>
                  <a:pt x="12400" y="4455"/>
                </a:lnTo>
                <a:lnTo>
                  <a:pt x="12438" y="4433"/>
                </a:lnTo>
                <a:lnTo>
                  <a:pt x="12474" y="4407"/>
                </a:lnTo>
                <a:lnTo>
                  <a:pt x="12506" y="4378"/>
                </a:lnTo>
                <a:lnTo>
                  <a:pt x="12535" y="4345"/>
                </a:lnTo>
                <a:lnTo>
                  <a:pt x="12560" y="4309"/>
                </a:lnTo>
                <a:lnTo>
                  <a:pt x="12583" y="4270"/>
                </a:lnTo>
                <a:lnTo>
                  <a:pt x="12601" y="4229"/>
                </a:lnTo>
                <a:lnTo>
                  <a:pt x="12616" y="4185"/>
                </a:lnTo>
                <a:lnTo>
                  <a:pt x="12626" y="4138"/>
                </a:lnTo>
                <a:lnTo>
                  <a:pt x="12633" y="4088"/>
                </a:lnTo>
                <a:lnTo>
                  <a:pt x="12635" y="4037"/>
                </a:lnTo>
                <a:lnTo>
                  <a:pt x="12635" y="2275"/>
                </a:lnTo>
                <a:lnTo>
                  <a:pt x="12633" y="2222"/>
                </a:lnTo>
                <a:lnTo>
                  <a:pt x="12626" y="2172"/>
                </a:lnTo>
                <a:lnTo>
                  <a:pt x="12615" y="2124"/>
                </a:lnTo>
                <a:lnTo>
                  <a:pt x="12601" y="2080"/>
                </a:lnTo>
                <a:lnTo>
                  <a:pt x="12582" y="2038"/>
                </a:lnTo>
                <a:lnTo>
                  <a:pt x="12560" y="1999"/>
                </a:lnTo>
                <a:lnTo>
                  <a:pt x="12533" y="1963"/>
                </a:lnTo>
                <a:lnTo>
                  <a:pt x="12504" y="1931"/>
                </a:lnTo>
                <a:lnTo>
                  <a:pt x="12471" y="1902"/>
                </a:lnTo>
                <a:lnTo>
                  <a:pt x="12435" y="1876"/>
                </a:lnTo>
                <a:lnTo>
                  <a:pt x="12395" y="1854"/>
                </a:lnTo>
                <a:lnTo>
                  <a:pt x="12353" y="1836"/>
                </a:lnTo>
                <a:lnTo>
                  <a:pt x="12307" y="1821"/>
                </a:lnTo>
                <a:lnTo>
                  <a:pt x="12259" y="1811"/>
                </a:lnTo>
                <a:lnTo>
                  <a:pt x="12208" y="1804"/>
                </a:lnTo>
                <a:lnTo>
                  <a:pt x="12155" y="1802"/>
                </a:lnTo>
                <a:lnTo>
                  <a:pt x="10408" y="1802"/>
                </a:lnTo>
                <a:lnTo>
                  <a:pt x="10354" y="1804"/>
                </a:lnTo>
                <a:lnTo>
                  <a:pt x="10302" y="1811"/>
                </a:lnTo>
                <a:lnTo>
                  <a:pt x="10254" y="1821"/>
                </a:lnTo>
                <a:lnTo>
                  <a:pt x="10208" y="1836"/>
                </a:lnTo>
                <a:lnTo>
                  <a:pt x="10166" y="1855"/>
                </a:lnTo>
                <a:lnTo>
                  <a:pt x="10126" y="1877"/>
                </a:lnTo>
                <a:lnTo>
                  <a:pt x="10090" y="1903"/>
                </a:lnTo>
                <a:lnTo>
                  <a:pt x="10057" y="1933"/>
                </a:lnTo>
                <a:lnTo>
                  <a:pt x="10028" y="1966"/>
                </a:lnTo>
                <a:lnTo>
                  <a:pt x="10002" y="2003"/>
                </a:lnTo>
                <a:lnTo>
                  <a:pt x="9980" y="2043"/>
                </a:lnTo>
                <a:lnTo>
                  <a:pt x="9962" y="2086"/>
                </a:lnTo>
                <a:lnTo>
                  <a:pt x="9947" y="2132"/>
                </a:lnTo>
                <a:lnTo>
                  <a:pt x="9936" y="2182"/>
                </a:lnTo>
                <a:lnTo>
                  <a:pt x="9930" y="2234"/>
                </a:lnTo>
                <a:lnTo>
                  <a:pt x="9927" y="2289"/>
                </a:lnTo>
                <a:lnTo>
                  <a:pt x="9927" y="3148"/>
                </a:lnTo>
                <a:close/>
              </a:path>
            </a:pathLst>
          </a:custGeom>
          <a:solidFill>
            <a:srgbClr val="123563"/>
          </a:solidFill>
          <a:ln>
            <a:noFill/>
          </a:ln>
          <a:effectLst/>
        </p:spPr>
        <p:txBody>
          <a:bodyPr wrap="none" anchor="ctr"/>
          <a:lstStyle/>
          <a:p>
            <a:endParaRPr lang="de-DE" dirty="0">
              <a:latin typeface="BISansOpti"/>
            </a:endParaRPr>
          </a:p>
        </p:txBody>
      </p:sp>
      <p:sp>
        <p:nvSpPr>
          <p:cNvPr id="7" name="Textplatzhalter 6"/>
          <p:cNvSpPr>
            <a:spLocks noGrp="1"/>
          </p:cNvSpPr>
          <p:nvPr>
            <p:ph type="body" sz="quarter" idx="10" hasCustomPrompt="1"/>
          </p:nvPr>
        </p:nvSpPr>
        <p:spPr>
          <a:xfrm>
            <a:off x="7081200" y="259200"/>
            <a:ext cx="1728000" cy="3600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1" i="0" baseline="0">
                <a:solidFill>
                  <a:schemeClr val="accent1"/>
                </a:solidFill>
                <a:latin typeface="BISansOpti"/>
                <a:cs typeface="BISansOpti"/>
              </a:defRPr>
            </a:lvl1p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de-DE" sz="1000" b="1" dirty="0">
                <a:solidFill>
                  <a:srgbClr val="123563"/>
                </a:solidFill>
              </a:rPr>
              <a:t>Firmenbezeichnung</a:t>
            </a:r>
          </a:p>
          <a:p>
            <a:pPr lvl="0"/>
            <a:endParaRPr lang="de-DE" dirty="0"/>
          </a:p>
        </p:txBody>
      </p:sp>
      <p:sp>
        <p:nvSpPr>
          <p:cNvPr id="25" name="Textplatzhalter 6"/>
          <p:cNvSpPr>
            <a:spLocks noGrp="1"/>
          </p:cNvSpPr>
          <p:nvPr>
            <p:ph type="body" sz="quarter" idx="12" hasCustomPrompt="1"/>
          </p:nvPr>
        </p:nvSpPr>
        <p:spPr>
          <a:xfrm>
            <a:off x="7081200" y="713406"/>
            <a:ext cx="1728000" cy="1548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a:t>Straße / Nr.</a:t>
            </a:r>
          </a:p>
        </p:txBody>
      </p:sp>
      <p:sp>
        <p:nvSpPr>
          <p:cNvPr id="26" name="Textplatzhalter 6"/>
          <p:cNvSpPr>
            <a:spLocks noGrp="1"/>
          </p:cNvSpPr>
          <p:nvPr>
            <p:ph type="body" sz="quarter" idx="13" hasCustomPrompt="1"/>
          </p:nvPr>
        </p:nvSpPr>
        <p:spPr>
          <a:xfrm>
            <a:off x="7081200" y="871181"/>
            <a:ext cx="1728000" cy="1548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a:t>PLZ / Ort</a:t>
            </a:r>
          </a:p>
        </p:txBody>
      </p:sp>
      <p:sp>
        <p:nvSpPr>
          <p:cNvPr id="27" name="Textplatzhalter 6"/>
          <p:cNvSpPr>
            <a:spLocks noGrp="1"/>
          </p:cNvSpPr>
          <p:nvPr>
            <p:ph type="body" sz="quarter" idx="14" hasCustomPrompt="1"/>
          </p:nvPr>
        </p:nvSpPr>
        <p:spPr>
          <a:xfrm>
            <a:off x="7441200" y="1097781"/>
            <a:ext cx="1368000" cy="1548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a:t>Telefonnummer</a:t>
            </a:r>
          </a:p>
        </p:txBody>
      </p:sp>
      <p:sp>
        <p:nvSpPr>
          <p:cNvPr id="19" name="Textfeld 18"/>
          <p:cNvSpPr txBox="1"/>
          <p:nvPr userDrawn="1"/>
        </p:nvSpPr>
        <p:spPr>
          <a:xfrm>
            <a:off x="7081200" y="1097781"/>
            <a:ext cx="186073" cy="153888"/>
          </a:xfrm>
          <a:prstGeom prst="rect">
            <a:avLst/>
          </a:prstGeom>
          <a:noFill/>
        </p:spPr>
        <p:txBody>
          <a:bodyPr wrap="none" lIns="0" tIns="0" rIns="0" bIns="0" rtlCol="0">
            <a:spAutoFit/>
          </a:bodyPr>
          <a:lstStyle/>
          <a:p>
            <a:r>
              <a:rPr lang="de-DE" sz="1000" dirty="0">
                <a:solidFill>
                  <a:srgbClr val="003366"/>
                </a:solidFill>
                <a:latin typeface="BISansOpti"/>
                <a:cs typeface="BISansOpti"/>
              </a:rPr>
              <a:t>Tel:</a:t>
            </a:r>
          </a:p>
        </p:txBody>
      </p:sp>
      <p:sp>
        <p:nvSpPr>
          <p:cNvPr id="28" name="Textplatzhalter 6"/>
          <p:cNvSpPr>
            <a:spLocks noGrp="1"/>
          </p:cNvSpPr>
          <p:nvPr>
            <p:ph type="body" sz="quarter" idx="15" hasCustomPrompt="1"/>
          </p:nvPr>
        </p:nvSpPr>
        <p:spPr>
          <a:xfrm>
            <a:off x="7441200" y="1256400"/>
            <a:ext cx="1368000" cy="1548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a:t>Fax-Nummer</a:t>
            </a:r>
          </a:p>
        </p:txBody>
      </p:sp>
      <p:sp>
        <p:nvSpPr>
          <p:cNvPr id="29" name="Textfeld 28"/>
          <p:cNvSpPr txBox="1"/>
          <p:nvPr userDrawn="1"/>
        </p:nvSpPr>
        <p:spPr>
          <a:xfrm>
            <a:off x="7081200" y="1256400"/>
            <a:ext cx="217236" cy="153888"/>
          </a:xfrm>
          <a:prstGeom prst="rect">
            <a:avLst/>
          </a:prstGeom>
          <a:noFill/>
        </p:spPr>
        <p:txBody>
          <a:bodyPr wrap="none" lIns="0" tIns="0" rIns="0" bIns="0" rtlCol="0">
            <a:spAutoFit/>
          </a:bodyPr>
          <a:lstStyle/>
          <a:p>
            <a:r>
              <a:rPr lang="de-DE" sz="1000" dirty="0">
                <a:solidFill>
                  <a:srgbClr val="003366"/>
                </a:solidFill>
                <a:latin typeface="BISansOpti"/>
                <a:cs typeface="BISansOpti"/>
              </a:rPr>
              <a:t>Fax:</a:t>
            </a:r>
          </a:p>
        </p:txBody>
      </p:sp>
      <p:sp>
        <p:nvSpPr>
          <p:cNvPr id="30" name="Textplatzhalter 6"/>
          <p:cNvSpPr>
            <a:spLocks noGrp="1"/>
          </p:cNvSpPr>
          <p:nvPr>
            <p:ph type="body" sz="quarter" idx="16" hasCustomPrompt="1"/>
          </p:nvPr>
        </p:nvSpPr>
        <p:spPr>
          <a:xfrm>
            <a:off x="7081200" y="1478981"/>
            <a:ext cx="1728000" cy="1548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a:t>E-Mail-Adresse</a:t>
            </a:r>
          </a:p>
        </p:txBody>
      </p:sp>
      <p:sp>
        <p:nvSpPr>
          <p:cNvPr id="31" name="Textplatzhalter 6"/>
          <p:cNvSpPr>
            <a:spLocks noGrp="1"/>
          </p:cNvSpPr>
          <p:nvPr>
            <p:ph type="body" sz="quarter" idx="17" hasCustomPrompt="1"/>
          </p:nvPr>
        </p:nvSpPr>
        <p:spPr>
          <a:xfrm>
            <a:off x="7081200" y="1638000"/>
            <a:ext cx="1728000" cy="1548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a:t>Website-Adresse</a:t>
            </a:r>
          </a:p>
        </p:txBody>
      </p:sp>
      <p:sp>
        <p:nvSpPr>
          <p:cNvPr id="21" name="Textplatzhalter 20"/>
          <p:cNvSpPr>
            <a:spLocks noGrp="1"/>
          </p:cNvSpPr>
          <p:nvPr>
            <p:ph type="body" sz="quarter" idx="18" hasCustomPrompt="1"/>
          </p:nvPr>
        </p:nvSpPr>
        <p:spPr>
          <a:xfrm>
            <a:off x="367200" y="2070000"/>
            <a:ext cx="5374800" cy="354013"/>
          </a:xfrm>
        </p:spPr>
        <p:txBody>
          <a:bodyPr/>
          <a:lstStyle>
            <a:lvl1pPr marL="0" indent="0">
              <a:buNone/>
              <a:defRPr baseline="0">
                <a:solidFill>
                  <a:srgbClr val="003366"/>
                </a:solidFill>
                <a:latin typeface="BISansOpti"/>
                <a:cs typeface="BISansOpti"/>
              </a:defRPr>
            </a:lvl1pPr>
          </a:lstStyle>
          <a:p>
            <a:pPr lvl="0"/>
            <a:r>
              <a:rPr lang="de-DE" noProof="0" dirty="0"/>
              <a:t>Überschrift für weitere Informationen:</a:t>
            </a:r>
          </a:p>
        </p:txBody>
      </p:sp>
      <p:sp>
        <p:nvSpPr>
          <p:cNvPr id="33" name="Textplatzhalter 20"/>
          <p:cNvSpPr>
            <a:spLocks noGrp="1"/>
          </p:cNvSpPr>
          <p:nvPr>
            <p:ph type="body" sz="quarter" idx="19" hasCustomPrompt="1"/>
          </p:nvPr>
        </p:nvSpPr>
        <p:spPr>
          <a:xfrm>
            <a:off x="367200" y="2425296"/>
            <a:ext cx="5374800" cy="1411200"/>
          </a:xfrm>
        </p:spPr>
        <p:txBody>
          <a:bodyPr/>
          <a:lstStyle>
            <a:lvl1pPr marL="0" indent="0">
              <a:spcBef>
                <a:spcPts val="0"/>
              </a:spcBef>
              <a:buNone/>
              <a:defRPr sz="1800" baseline="0">
                <a:solidFill>
                  <a:schemeClr val="accent2"/>
                </a:solidFill>
                <a:latin typeface="BISansOpti"/>
                <a:cs typeface="BISansOpti"/>
              </a:defRPr>
            </a:lvl1pPr>
          </a:lstStyle>
          <a:p>
            <a:pPr lvl="0"/>
            <a:r>
              <a:rPr lang="de-DE" dirty="0"/>
              <a:t>Fügen Sie hier die Website-Adressen ein</a:t>
            </a:r>
          </a:p>
        </p:txBody>
      </p:sp>
      <p:pic>
        <p:nvPicPr>
          <p:cNvPr id="32" name="Grafik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19694" y="4416838"/>
            <a:ext cx="1259701" cy="381600"/>
          </a:xfrm>
          <a:prstGeom prst="rect">
            <a:avLst/>
          </a:prstGeom>
        </p:spPr>
      </p:pic>
      <p:sp>
        <p:nvSpPr>
          <p:cNvPr id="35" name="Textplatzhalter 2"/>
          <p:cNvSpPr>
            <a:spLocks noGrp="1"/>
          </p:cNvSpPr>
          <p:nvPr>
            <p:ph type="body" sz="quarter" idx="20" hasCustomPrompt="1"/>
          </p:nvPr>
        </p:nvSpPr>
        <p:spPr>
          <a:xfrm>
            <a:off x="367200" y="4139366"/>
            <a:ext cx="4626000" cy="615553"/>
          </a:xfrm>
        </p:spPr>
        <p:txBody>
          <a:bodyPr>
            <a:noAutofit/>
          </a:bodyPr>
          <a:lstStyle>
            <a:lvl1pPr marL="0" indent="0">
              <a:lnSpc>
                <a:spcPct val="100000"/>
              </a:lnSpc>
              <a:spcBef>
                <a:spcPts val="0"/>
              </a:spcBef>
              <a:buNone/>
              <a:defRPr sz="1000" baseline="0">
                <a:solidFill>
                  <a:srgbClr val="1F497D"/>
                </a:solidFill>
              </a:defRPr>
            </a:lvl1pPr>
            <a:lvl2pPr marL="266700" indent="0">
              <a:buNone/>
              <a:defRPr sz="1000">
                <a:solidFill>
                  <a:srgbClr val="1F497D"/>
                </a:solidFill>
              </a:defRPr>
            </a:lvl2pPr>
            <a:lvl3pPr marL="450850" indent="0">
              <a:buNone/>
              <a:defRPr sz="1000">
                <a:solidFill>
                  <a:srgbClr val="1F497D"/>
                </a:solidFill>
              </a:defRPr>
            </a:lvl3pPr>
            <a:lvl4pPr marL="628650" indent="0">
              <a:buNone/>
              <a:defRPr sz="1000">
                <a:solidFill>
                  <a:srgbClr val="1F497D"/>
                </a:solidFill>
              </a:defRPr>
            </a:lvl4pPr>
            <a:lvl5pPr marL="806450" indent="0">
              <a:buNone/>
              <a:defRPr sz="1000">
                <a:solidFill>
                  <a:srgbClr val="1F497D"/>
                </a:solidFill>
              </a:defRPr>
            </a:lvl5pPr>
          </a:lstStyle>
          <a:p>
            <a:pPr algn="just"/>
            <a:r>
              <a:rPr lang="de-DE" sz="1000" noProof="0" dirty="0">
                <a:solidFill>
                  <a:srgbClr val="1F497D"/>
                </a:solidFill>
                <a:latin typeface="BISansOpti"/>
                <a:cs typeface="BISansOpti"/>
              </a:rPr>
              <a:t>Zum Einfügen des Copyright-Textes hier klicken</a:t>
            </a:r>
          </a:p>
        </p:txBody>
      </p:sp>
      <p:sp>
        <p:nvSpPr>
          <p:cNvPr id="37" name="Textfeld 36"/>
          <p:cNvSpPr txBox="1"/>
          <p:nvPr userDrawn="1"/>
        </p:nvSpPr>
        <p:spPr>
          <a:xfrm>
            <a:off x="367575" y="3985478"/>
            <a:ext cx="1350693" cy="153888"/>
          </a:xfrm>
          <a:prstGeom prst="rect">
            <a:avLst/>
          </a:prstGeom>
          <a:noFill/>
        </p:spPr>
        <p:txBody>
          <a:bodyPr wrap="square" lIns="0" tIns="0" rIns="0" bIns="0" rtlCol="0">
            <a:spAutoFit/>
          </a:bodyPr>
          <a:lstStyle/>
          <a:p>
            <a:pPr algn="just"/>
            <a:r>
              <a:rPr lang="de-DE" sz="1000" dirty="0">
                <a:solidFill>
                  <a:srgbClr val="1F497D"/>
                </a:solidFill>
                <a:latin typeface="BISansOpti"/>
                <a:cs typeface="BISansOpti"/>
              </a:rPr>
              <a:t>© Boehringer Ingelheim</a:t>
            </a:r>
          </a:p>
        </p:txBody>
      </p:sp>
      <p:sp>
        <p:nvSpPr>
          <p:cNvPr id="38" name="Textplatzhalter 4"/>
          <p:cNvSpPr>
            <a:spLocks noGrp="1"/>
          </p:cNvSpPr>
          <p:nvPr>
            <p:ph type="body" sz="quarter" idx="21" hasCustomPrompt="1"/>
          </p:nvPr>
        </p:nvSpPr>
        <p:spPr>
          <a:xfrm>
            <a:off x="1718268" y="3986222"/>
            <a:ext cx="3274933" cy="153888"/>
          </a:xfrm>
        </p:spPr>
        <p:txBody>
          <a:bodyPr wrap="square">
            <a:spAutoFit/>
          </a:bodyPr>
          <a:lstStyle>
            <a:lvl1pPr marL="0" indent="0">
              <a:buNone/>
              <a:defRPr sz="1000">
                <a:solidFill>
                  <a:srgbClr val="1F497D"/>
                </a:solidFill>
              </a:defRPr>
            </a:lvl1pPr>
            <a:lvl2pPr marL="266700" indent="0">
              <a:buNone/>
              <a:defRPr sz="1000">
                <a:solidFill>
                  <a:srgbClr val="1F497D"/>
                </a:solidFill>
              </a:defRPr>
            </a:lvl2pPr>
            <a:lvl3pPr marL="450850" indent="0">
              <a:buNone/>
              <a:defRPr sz="1000">
                <a:solidFill>
                  <a:srgbClr val="1F497D"/>
                </a:solidFill>
              </a:defRPr>
            </a:lvl3pPr>
            <a:lvl4pPr marL="628650" indent="0">
              <a:buNone/>
              <a:defRPr sz="1000">
                <a:solidFill>
                  <a:srgbClr val="1F497D"/>
                </a:solidFill>
              </a:defRPr>
            </a:lvl4pPr>
            <a:lvl5pPr marL="806450" indent="0">
              <a:buNone/>
              <a:defRPr sz="1000">
                <a:solidFill>
                  <a:srgbClr val="1F497D"/>
                </a:solidFill>
              </a:defRPr>
            </a:lvl5pPr>
          </a:lstStyle>
          <a:p>
            <a:pPr lvl="0"/>
            <a:r>
              <a:rPr lang="de-DE" noProof="0" dirty="0"/>
              <a:t>Zum Einfügen des Copyright-Jahres hier klicken</a:t>
            </a:r>
          </a:p>
        </p:txBody>
      </p:sp>
    </p:spTree>
    <p:extLst>
      <p:ext uri="{BB962C8B-B14F-4D97-AF65-F5344CB8AC3E}">
        <p14:creationId xmlns:p14="http://schemas.microsoft.com/office/powerpoint/2010/main" val="2831651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latin typeface="BISansOpti"/>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hasCustomPrompt="1"/>
          </p:nvPr>
        </p:nvSpPr>
        <p:spPr>
          <a:xfrm>
            <a:off x="351828" y="1980097"/>
            <a:ext cx="8235318" cy="738664"/>
          </a:xfrm>
        </p:spPr>
        <p:txBody>
          <a:bodyPr wrap="square">
            <a:spAutoFit/>
          </a:bodyPr>
          <a:lstStyle>
            <a:lvl1pPr marL="0" indent="0">
              <a:buNone/>
              <a:defRPr sz="4800" b="0" i="0">
                <a:solidFill>
                  <a:schemeClr val="bg1"/>
                </a:solidFill>
                <a:latin typeface="BISansOptiCond"/>
                <a:cs typeface="BISansOptiCond"/>
              </a:defRPr>
            </a:lvl1pPr>
          </a:lstStyle>
          <a:p>
            <a:pPr lvl="0"/>
            <a:r>
              <a:rPr lang="en-GB" noProof="0" dirty="0"/>
              <a:t>Click to add chapter title</a:t>
            </a:r>
          </a:p>
        </p:txBody>
      </p:sp>
      <p:sp>
        <p:nvSpPr>
          <p:cNvPr id="20" name="Textplatzhalter 18"/>
          <p:cNvSpPr>
            <a:spLocks noGrp="1"/>
          </p:cNvSpPr>
          <p:nvPr>
            <p:ph type="body" sz="quarter" idx="12" hasCustomPrompt="1"/>
          </p:nvPr>
        </p:nvSpPr>
        <p:spPr>
          <a:xfrm>
            <a:off x="351829" y="2788611"/>
            <a:ext cx="4059236" cy="369332"/>
          </a:xfrm>
        </p:spPr>
        <p:txBody>
          <a:bodyPr wrap="square">
            <a:spAutoFit/>
          </a:bodyPr>
          <a:lstStyle>
            <a:lvl1pPr marL="0" indent="0">
              <a:buNone/>
              <a:defRPr sz="2400" b="0" i="0">
                <a:solidFill>
                  <a:schemeClr val="bg1"/>
                </a:solidFill>
                <a:latin typeface="BISansOptiCond"/>
                <a:cs typeface="BISansOptiCond"/>
              </a:defRPr>
            </a:lvl1pPr>
          </a:lstStyle>
          <a:p>
            <a:pPr lvl="0"/>
            <a:r>
              <a:rPr lang="en-GB" noProof="0" dirty="0"/>
              <a:t>Click to add text</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Grafik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9694" y="4416838"/>
            <a:ext cx="1259701" cy="381600"/>
          </a:xfrm>
          <a:prstGeom prst="rect">
            <a:avLst/>
          </a:prstGeom>
        </p:spPr>
      </p:pic>
    </p:spTree>
    <p:extLst>
      <p:ext uri="{BB962C8B-B14F-4D97-AF65-F5344CB8AC3E}">
        <p14:creationId xmlns:p14="http://schemas.microsoft.com/office/powerpoint/2010/main" val="361949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latin typeface="BISansOpti"/>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hasCustomPrompt="1"/>
          </p:nvPr>
        </p:nvSpPr>
        <p:spPr>
          <a:xfrm>
            <a:off x="351828" y="1980097"/>
            <a:ext cx="4059237" cy="1477328"/>
          </a:xfrm>
        </p:spPr>
        <p:txBody>
          <a:bodyPr wrap="square">
            <a:spAutoFit/>
          </a:bodyPr>
          <a:lstStyle>
            <a:lvl1pPr marL="0" indent="0">
              <a:buNone/>
              <a:defRPr sz="4800" b="0" i="0">
                <a:solidFill>
                  <a:schemeClr val="bg1"/>
                </a:solidFill>
                <a:latin typeface="BISansOptiCond"/>
                <a:cs typeface="BISansOptiCond"/>
              </a:defRPr>
            </a:lvl1pPr>
          </a:lstStyle>
          <a:p>
            <a:pPr lvl="0"/>
            <a:r>
              <a:rPr lang="en-GB" noProof="0" dirty="0"/>
              <a:t>Click to add chapter title</a:t>
            </a:r>
          </a:p>
        </p:txBody>
      </p:sp>
      <p:sp>
        <p:nvSpPr>
          <p:cNvPr id="20" name="Textplatzhalter 18"/>
          <p:cNvSpPr>
            <a:spLocks noGrp="1"/>
          </p:cNvSpPr>
          <p:nvPr>
            <p:ph type="body" sz="quarter" idx="12" hasCustomPrompt="1"/>
          </p:nvPr>
        </p:nvSpPr>
        <p:spPr>
          <a:xfrm>
            <a:off x="351829" y="3467847"/>
            <a:ext cx="4059236" cy="369332"/>
          </a:xfrm>
        </p:spPr>
        <p:txBody>
          <a:bodyPr wrap="square">
            <a:spAutoFit/>
          </a:bodyPr>
          <a:lstStyle>
            <a:lvl1pPr marL="0" indent="0">
              <a:buNone/>
              <a:defRPr sz="2400" b="0" i="0">
                <a:solidFill>
                  <a:schemeClr val="bg1"/>
                </a:solidFill>
                <a:latin typeface="BISansOptiCond"/>
                <a:cs typeface="BISansOptiCond"/>
              </a:defRPr>
            </a:lvl1pPr>
          </a:lstStyle>
          <a:p>
            <a:pPr lvl="0"/>
            <a:r>
              <a:rPr lang="en-GB" noProof="0" dirty="0"/>
              <a:t>Click to add text</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b="0" i="0" baseline="0">
                <a:solidFill>
                  <a:srgbClr val="003366"/>
                </a:solidFill>
                <a:latin typeface="BISansOptiCond"/>
                <a:cs typeface="BISansOptiCond"/>
              </a:defRPr>
            </a:lvl1pPr>
          </a:lstStyle>
          <a:p>
            <a:pPr lvl="0"/>
            <a:r>
              <a:rPr lang="en-GB" noProof="0" dirty="0"/>
              <a:t>Click to add text</a:t>
            </a:r>
          </a:p>
        </p:txBody>
      </p:sp>
      <p:pic>
        <p:nvPicPr>
          <p:cNvPr id="9" name="Grafik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9694" y="4416838"/>
            <a:ext cx="1259701" cy="381600"/>
          </a:xfrm>
          <a:prstGeom prst="rect">
            <a:avLst/>
          </a:prstGeom>
        </p:spPr>
      </p:pic>
    </p:spTree>
    <p:extLst>
      <p:ext uri="{BB962C8B-B14F-4D97-AF65-F5344CB8AC3E}">
        <p14:creationId xmlns:p14="http://schemas.microsoft.com/office/powerpoint/2010/main" val="2511441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latin typeface="BISansOpti"/>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hasCustomPrompt="1"/>
          </p:nvPr>
        </p:nvSpPr>
        <p:spPr>
          <a:xfrm>
            <a:off x="351828" y="1980097"/>
            <a:ext cx="4059237" cy="1477328"/>
          </a:xfrm>
        </p:spPr>
        <p:txBody>
          <a:bodyPr wrap="square">
            <a:spAutoFit/>
          </a:bodyPr>
          <a:lstStyle>
            <a:lvl1pPr marL="0" indent="0">
              <a:buNone/>
              <a:defRPr sz="4800" b="0" i="0">
                <a:solidFill>
                  <a:schemeClr val="bg1"/>
                </a:solidFill>
                <a:latin typeface="BISansOptiCond"/>
                <a:cs typeface="BISansOptiCond"/>
              </a:defRPr>
            </a:lvl1pPr>
          </a:lstStyle>
          <a:p>
            <a:pPr lvl="0"/>
            <a:r>
              <a:rPr lang="en-GB" noProof="0"/>
              <a:t>Click to add chapter title</a:t>
            </a:r>
          </a:p>
        </p:txBody>
      </p:sp>
      <p:sp>
        <p:nvSpPr>
          <p:cNvPr id="20" name="Textplatzhalter 18"/>
          <p:cNvSpPr>
            <a:spLocks noGrp="1"/>
          </p:cNvSpPr>
          <p:nvPr>
            <p:ph type="body" sz="quarter" idx="12" hasCustomPrompt="1"/>
          </p:nvPr>
        </p:nvSpPr>
        <p:spPr>
          <a:xfrm>
            <a:off x="351829" y="3467847"/>
            <a:ext cx="2954642" cy="369332"/>
          </a:xfrm>
        </p:spPr>
        <p:txBody>
          <a:bodyPr wrap="square">
            <a:spAutoFit/>
          </a:bodyPr>
          <a:lstStyle>
            <a:lvl1pPr marL="0" indent="0">
              <a:buNone/>
              <a:defRPr sz="2400" b="0" i="0">
                <a:solidFill>
                  <a:schemeClr val="bg1"/>
                </a:solidFill>
                <a:latin typeface="BISansOptiCond"/>
                <a:cs typeface="BISansOptiCond"/>
              </a:defRPr>
            </a:lvl1pPr>
          </a:lstStyle>
          <a:p>
            <a:pPr lvl="0"/>
            <a:r>
              <a:rPr lang="en-GB" noProof="0" dirty="0"/>
              <a:t>Click to add text</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b="0" i="0" baseline="0">
                <a:solidFill>
                  <a:srgbClr val="003366"/>
                </a:solidFill>
                <a:latin typeface="BISansOptiCond"/>
                <a:cs typeface="BISansOptiCond"/>
              </a:defRPr>
            </a:lvl1pPr>
          </a:lstStyle>
          <a:p>
            <a:pPr lvl="0"/>
            <a:r>
              <a:rPr lang="en-GB" noProof="0" dirty="0"/>
              <a:t>Click to add text</a:t>
            </a:r>
          </a:p>
        </p:txBody>
      </p:sp>
      <p:sp>
        <p:nvSpPr>
          <p:cNvPr id="23" name="Bildplatzhalter 22"/>
          <p:cNvSpPr>
            <a:spLocks noGrp="1"/>
          </p:cNvSpPr>
          <p:nvPr>
            <p:ph type="pic" sz="quarter" idx="13" hasCustomPrompt="1"/>
          </p:nvPr>
        </p:nvSpPr>
        <p:spPr>
          <a:xfrm>
            <a:off x="3359168" y="2342800"/>
            <a:ext cx="2260800" cy="2260800"/>
          </a:xfrm>
          <a:prstGeom prst="ellipse">
            <a:avLst/>
          </a:prstGeom>
        </p:spPr>
        <p:txBody>
          <a:bodyPr/>
          <a:lstStyle>
            <a:lvl1pPr marL="0" indent="0" algn="ctr">
              <a:buNone/>
              <a:defRPr sz="900"/>
            </a:lvl1pPr>
          </a:lstStyle>
          <a:p>
            <a:r>
              <a:rPr lang="en-GB" noProof="0" dirty="0"/>
              <a:t>Click to add picture</a:t>
            </a:r>
          </a:p>
        </p:txBody>
      </p:sp>
      <p:pic>
        <p:nvPicPr>
          <p:cNvPr id="10" name="Grafik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9694" y="4416838"/>
            <a:ext cx="1259701" cy="381600"/>
          </a:xfrm>
          <a:prstGeom prst="rect">
            <a:avLst/>
          </a:prstGeom>
        </p:spPr>
      </p:pic>
    </p:spTree>
    <p:extLst>
      <p:ext uri="{BB962C8B-B14F-4D97-AF65-F5344CB8AC3E}">
        <p14:creationId xmlns:p14="http://schemas.microsoft.com/office/powerpoint/2010/main" val="2727196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t>09/09/2022</a:t>
            </a:fld>
            <a:endParaRPr lang="en-GB" dirty="0"/>
          </a:p>
        </p:txBody>
      </p:sp>
      <p:sp>
        <p:nvSpPr>
          <p:cNvPr id="4" name="Fußzeilenplatzhalter 3"/>
          <p:cNvSpPr>
            <a:spLocks noGrp="1"/>
          </p:cNvSpPr>
          <p:nvPr>
            <p:ph type="ftr" sz="quarter" idx="11"/>
          </p:nvPr>
        </p:nvSpPr>
        <p:spPr/>
        <p:txBody>
          <a:bodyPr/>
          <a:lstStyle/>
          <a:p>
            <a:r>
              <a:rPr lang="en-GB"/>
              <a:t>Presentation title, date, author</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8" name="Titel 7"/>
          <p:cNvSpPr>
            <a:spLocks noGrp="1"/>
          </p:cNvSpPr>
          <p:nvPr>
            <p:ph type="title" hasCustomPrompt="1"/>
          </p:nvPr>
        </p:nvSpPr>
        <p:spPr/>
        <p:txBody>
          <a:bodyPr/>
          <a:lstStyle/>
          <a:p>
            <a:r>
              <a:rPr lang="en-GB" noProof="0" dirty="0"/>
              <a:t>Click to add headline</a:t>
            </a:r>
          </a:p>
        </p:txBody>
      </p:sp>
      <p:pic>
        <p:nvPicPr>
          <p:cNvPr id="10"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243934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sp>
        <p:nvSpPr>
          <p:cNvPr id="3" name="Inhaltsplatzhalter 2"/>
          <p:cNvSpPr>
            <a:spLocks noGrp="1"/>
          </p:cNvSpPr>
          <p:nvPr>
            <p:ph idx="1" hasCustomPrompt="1"/>
          </p:nvPr>
        </p:nvSpPr>
        <p:spPr/>
        <p:txBody>
          <a:bodyPr/>
          <a:lstStyle/>
          <a:p>
            <a:pPr lvl="0"/>
            <a:r>
              <a:rPr lang="en-GB" noProof="0" dirty="0"/>
              <a:t>Click to add text</a:t>
            </a: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t>09/09/2022</a:t>
            </a:fld>
            <a:endParaRPr lang="en-GB" dirty="0"/>
          </a:p>
        </p:txBody>
      </p:sp>
      <p:sp>
        <p:nvSpPr>
          <p:cNvPr id="5" name="Fußzeilenplatzhalter 4"/>
          <p:cNvSpPr>
            <a:spLocks noGrp="1"/>
          </p:cNvSpPr>
          <p:nvPr>
            <p:ph type="ftr" sz="quarter" idx="11"/>
          </p:nvPr>
        </p:nvSpPr>
        <p:spPr/>
        <p:txBody>
          <a:bodyPr/>
          <a:lstStyle/>
          <a:p>
            <a:r>
              <a:rPr lang="en-GB"/>
              <a:t>Presentation title, date, author</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8" name="Titel 7"/>
          <p:cNvSpPr>
            <a:spLocks noGrp="1"/>
          </p:cNvSpPr>
          <p:nvPr>
            <p:ph type="title" hasCustomPrompt="1"/>
          </p:nvPr>
        </p:nvSpPr>
        <p:spPr>
          <a:xfrm>
            <a:off x="367575" y="140400"/>
            <a:ext cx="8408850" cy="553998"/>
          </a:xfrm>
        </p:spPr>
        <p:txBody>
          <a:bodyPr/>
          <a:lstStyle>
            <a:lvl1pPr>
              <a:defRPr sz="3600"/>
            </a:lvl1pPr>
          </a:lstStyle>
          <a:p>
            <a:r>
              <a:rPr lang="en-GB" noProof="0"/>
              <a:t>Click to add headline</a:t>
            </a:r>
          </a:p>
        </p:txBody>
      </p:sp>
      <p:pic>
        <p:nvPicPr>
          <p:cNvPr id="10"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2649807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sp>
        <p:nvSpPr>
          <p:cNvPr id="3" name="Inhaltsplatzhalter 2"/>
          <p:cNvSpPr>
            <a:spLocks noGrp="1"/>
          </p:cNvSpPr>
          <p:nvPr>
            <p:ph idx="1" hasCustomPrompt="1"/>
          </p:nvPr>
        </p:nvSpPr>
        <p:spPr/>
        <p:txBody>
          <a:bodyPr/>
          <a:lstStyle>
            <a:lvl1pPr>
              <a:defRPr>
                <a:solidFill>
                  <a:srgbClr val="000000"/>
                </a:solidFill>
              </a:defRPr>
            </a:lvl1pPr>
          </a:lstStyle>
          <a:p>
            <a:pPr lvl="0"/>
            <a:r>
              <a:rPr lang="en-GB" noProof="0" dirty="0"/>
              <a:t>Click to add text</a:t>
            </a: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6" name="Datumsplatzhalter 5"/>
          <p:cNvSpPr>
            <a:spLocks noGrp="1"/>
          </p:cNvSpPr>
          <p:nvPr>
            <p:ph type="dt" sz="half" idx="10"/>
          </p:nvPr>
        </p:nvSpPr>
        <p:spPr/>
        <p:txBody>
          <a:bodyPr/>
          <a:lstStyle/>
          <a:p>
            <a:fld id="{1C661359-A780-4E12-A6C3-DC4E2163D090}" type="datetime1">
              <a:rPr lang="en-GB" smtClean="0"/>
              <a:t>09/09/2022</a:t>
            </a:fld>
            <a:endParaRPr lang="en-GB" dirty="0"/>
          </a:p>
        </p:txBody>
      </p:sp>
      <p:sp>
        <p:nvSpPr>
          <p:cNvPr id="7" name="Fußzeilenplatzhalter 6"/>
          <p:cNvSpPr>
            <a:spLocks noGrp="1"/>
          </p:cNvSpPr>
          <p:nvPr>
            <p:ph type="ftr" sz="quarter" idx="11"/>
          </p:nvPr>
        </p:nvSpPr>
        <p:spPr/>
        <p:txBody>
          <a:bodyPr/>
          <a:lstStyle/>
          <a:p>
            <a:r>
              <a:rPr lang="en-GB"/>
              <a:t>Presentation title, date, author</a:t>
            </a:r>
            <a:endParaRPr lang="en-GB" dirty="0"/>
          </a:p>
        </p:txBody>
      </p:sp>
      <p:sp>
        <p:nvSpPr>
          <p:cNvPr id="8" name="Foliennummernplatzhalter 7"/>
          <p:cNvSpPr>
            <a:spLocks noGrp="1"/>
          </p:cNvSpPr>
          <p:nvPr>
            <p:ph type="sldNum" sz="quarter" idx="12"/>
          </p:nvPr>
        </p:nvSpPr>
        <p:spPr/>
        <p:txBody>
          <a:bodyPr/>
          <a:lstStyle/>
          <a:p>
            <a:fld id="{143B55C4-4F5A-416B-997D-6CE47EB0A945}" type="slidenum">
              <a:rPr lang="en-GB" smtClean="0"/>
              <a:pPr/>
              <a:t>‹#›</a:t>
            </a:fld>
            <a:endParaRPr lang="en-GB" dirty="0"/>
          </a:p>
        </p:txBody>
      </p:sp>
      <p:sp>
        <p:nvSpPr>
          <p:cNvPr id="14" name="Titel 7"/>
          <p:cNvSpPr>
            <a:spLocks noGrp="1"/>
          </p:cNvSpPr>
          <p:nvPr>
            <p:ph type="title" hasCustomPrompt="1"/>
          </p:nvPr>
        </p:nvSpPr>
        <p:spPr>
          <a:xfrm>
            <a:off x="367575" y="290572"/>
            <a:ext cx="8408850" cy="369332"/>
          </a:xfrm>
        </p:spPr>
        <p:txBody>
          <a:bodyPr/>
          <a:lstStyle/>
          <a:p>
            <a:r>
              <a:rPr lang="en-GB" noProof="0" dirty="0"/>
              <a:t>Click to add headline</a:t>
            </a:r>
          </a:p>
        </p:txBody>
      </p:sp>
      <p:pic>
        <p:nvPicPr>
          <p:cNvPr id="15"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1725176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latin typeface="BISansOpti"/>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C111D5BD-A427-4B29-9DEE-6B9E4BFFF318}" type="datetime1">
              <a:rPr lang="en-GB" smtClean="0"/>
              <a:t>09/09/2022</a:t>
            </a:fld>
            <a:endParaRPr lang="en-GB" dirty="0"/>
          </a:p>
        </p:txBody>
      </p:sp>
      <p:sp>
        <p:nvSpPr>
          <p:cNvPr id="4" name="Fußzeilenplatzhalter 3"/>
          <p:cNvSpPr>
            <a:spLocks noGrp="1"/>
          </p:cNvSpPr>
          <p:nvPr>
            <p:ph type="ftr" sz="quarter" idx="11"/>
          </p:nvPr>
        </p:nvSpPr>
        <p:spPr/>
        <p:txBody>
          <a:bodyPr/>
          <a:lstStyle/>
          <a:p>
            <a:r>
              <a:rPr lang="en-GB"/>
              <a:t>Presentation title, date, author</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15" name="Titel 7"/>
          <p:cNvSpPr>
            <a:spLocks noGrp="1"/>
          </p:cNvSpPr>
          <p:nvPr>
            <p:ph type="title" hasCustomPrompt="1"/>
          </p:nvPr>
        </p:nvSpPr>
        <p:spPr>
          <a:xfrm>
            <a:off x="367575" y="290572"/>
            <a:ext cx="8408850" cy="369332"/>
          </a:xfrm>
        </p:spPr>
        <p:txBody>
          <a:bodyPr/>
          <a:lstStyle/>
          <a:p>
            <a:r>
              <a:rPr lang="en-GB" noProof="0" dirty="0"/>
              <a:t>Click to add headline</a:t>
            </a:r>
          </a:p>
        </p:txBody>
      </p:sp>
      <p:pic>
        <p:nvPicPr>
          <p:cNvPr id="16"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7" name="Inhaltsplatzhalter 6"/>
          <p:cNvSpPr>
            <a:spLocks noGrp="1"/>
          </p:cNvSpPr>
          <p:nvPr>
            <p:ph sz="quarter" idx="13" hasCustomPrompt="1"/>
          </p:nvPr>
        </p:nvSpPr>
        <p:spPr>
          <a:xfrm>
            <a:off x="1771200" y="1198800"/>
            <a:ext cx="5616000" cy="3394800"/>
          </a:xfrm>
        </p:spPr>
        <p:txBody>
          <a:bodyPr/>
          <a:lstStyle>
            <a:lvl1pPr marL="0" indent="0">
              <a:spcBef>
                <a:spcPts val="600"/>
              </a:spcBef>
              <a:buNone/>
              <a:defRPr>
                <a:latin typeface="+mn-lt"/>
              </a:defRPr>
            </a:lvl1pPr>
            <a:lvl2pPr marL="266700" indent="0">
              <a:buNone/>
              <a:defRPr>
                <a:latin typeface="+mn-lt"/>
              </a:defRPr>
            </a:lvl2pPr>
            <a:lvl3pPr marL="450850" indent="0">
              <a:buNone/>
              <a:defRPr>
                <a:latin typeface="+mn-lt"/>
              </a:defRPr>
            </a:lvl3pPr>
            <a:lvl4pPr marL="628650" indent="0">
              <a:buNone/>
              <a:defRPr>
                <a:latin typeface="+mn-lt"/>
              </a:defRPr>
            </a:lvl4pPr>
            <a:lvl5pPr marL="806450" indent="0">
              <a:buNone/>
              <a:defRPr>
                <a:latin typeface="+mn-lt"/>
              </a:defRPr>
            </a:lvl5pPr>
          </a:lstStyle>
          <a:p>
            <a:pPr lvl="0"/>
            <a:r>
              <a:rPr lang="en-GB" noProof="0" dirty="0"/>
              <a:t>Click to add text</a:t>
            </a:r>
          </a:p>
        </p:txBody>
      </p:sp>
    </p:spTree>
    <p:extLst>
      <p:ext uri="{BB962C8B-B14F-4D97-AF65-F5344CB8AC3E}">
        <p14:creationId xmlns:p14="http://schemas.microsoft.com/office/powerpoint/2010/main" val="4101064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3" name="Gruppieren 22"/>
          <p:cNvGrpSpPr/>
          <p:nvPr/>
        </p:nvGrpSpPr>
        <p:grpSpPr>
          <a:xfrm>
            <a:off x="182826" y="36709"/>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a:t>Click to add title</a:t>
            </a:r>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a:t>Click to add text</a:t>
            </a:r>
          </a:p>
        </p:txBody>
      </p:sp>
      <p:sp>
        <p:nvSpPr>
          <p:cNvPr id="4" name="Datumsplatzhalter 3"/>
          <p:cNvSpPr>
            <a:spLocks noGrp="1"/>
          </p:cNvSpPr>
          <p:nvPr>
            <p:ph type="dt" sz="half" idx="2"/>
          </p:nvPr>
        </p:nvSpPr>
        <p:spPr>
          <a:xfrm>
            <a:off x="7729622" y="4910708"/>
            <a:ext cx="474489" cy="153888"/>
          </a:xfrm>
          <a:prstGeom prst="rect">
            <a:avLst/>
          </a:prstGeom>
        </p:spPr>
        <p:txBody>
          <a:bodyPr vert="horz" wrap="none" lIns="0" tIns="0" rIns="0" bIns="0" rtlCol="0" anchor="ctr">
            <a:spAutoFit/>
          </a:bodyPr>
          <a:lstStyle>
            <a:lvl1pPr algn="r">
              <a:defRPr sz="1000" b="0" i="0">
                <a:solidFill>
                  <a:schemeClr val="bg1">
                    <a:lumMod val="50000"/>
                  </a:schemeClr>
                </a:solidFill>
                <a:latin typeface="BISansOptiCond"/>
                <a:cs typeface="BISansOptiCond"/>
              </a:defRPr>
            </a:lvl1pPr>
          </a:lstStyle>
          <a:p>
            <a:fld id="{9FC3183C-1A43-43C0-8392-1DBE7E166C5E}" type="datetime1">
              <a:rPr lang="en-GB" noProof="0" smtClean="0"/>
              <a:pPr/>
              <a:t>09/09/2022</a:t>
            </a:fld>
            <a:endParaRPr lang="en-GB" noProof="0"/>
          </a:p>
        </p:txBody>
      </p:sp>
      <p:sp>
        <p:nvSpPr>
          <p:cNvPr id="5" name="Fußzeilenplatzhalter 4"/>
          <p:cNvSpPr>
            <a:spLocks noGrp="1"/>
          </p:cNvSpPr>
          <p:nvPr>
            <p:ph type="ftr" sz="quarter" idx="3"/>
          </p:nvPr>
        </p:nvSpPr>
        <p:spPr>
          <a:xfrm>
            <a:off x="1351328" y="4910708"/>
            <a:ext cx="6139718" cy="153888"/>
          </a:xfrm>
          <a:prstGeom prst="rect">
            <a:avLst/>
          </a:prstGeom>
        </p:spPr>
        <p:txBody>
          <a:bodyPr vert="horz" wrap="square" lIns="0" tIns="0" rIns="0" bIns="0" rtlCol="0" anchor="ctr">
            <a:spAutoFit/>
          </a:bodyPr>
          <a:lstStyle>
            <a:lvl1pPr algn="l">
              <a:defRPr sz="1000" b="0" i="0">
                <a:solidFill>
                  <a:schemeClr val="bg1">
                    <a:lumMod val="50000"/>
                  </a:schemeClr>
                </a:solidFill>
                <a:latin typeface="BISansOptiCond"/>
                <a:cs typeface="BISansOptiCond"/>
              </a:defRPr>
            </a:lvl1pPr>
          </a:lstStyle>
          <a:p>
            <a:r>
              <a:rPr lang="en-GB" noProof="0"/>
              <a:t>Presentation title, date, author</a:t>
            </a:r>
          </a:p>
        </p:txBody>
      </p:sp>
      <p:sp>
        <p:nvSpPr>
          <p:cNvPr id="6" name="Foliennummernplatzhalter 5"/>
          <p:cNvSpPr>
            <a:spLocks noGrp="1"/>
          </p:cNvSpPr>
          <p:nvPr>
            <p:ph type="sldNum" sz="quarter" idx="4"/>
          </p:nvPr>
        </p:nvSpPr>
        <p:spPr>
          <a:xfrm>
            <a:off x="8571241" y="4910708"/>
            <a:ext cx="205184" cy="153888"/>
          </a:xfrm>
          <a:prstGeom prst="rect">
            <a:avLst/>
          </a:prstGeom>
        </p:spPr>
        <p:txBody>
          <a:bodyPr vert="horz" wrap="none" lIns="0" tIns="0" rIns="0" bIns="0" rtlCol="0" anchor="ctr">
            <a:spAutoFit/>
          </a:bodyPr>
          <a:lstStyle>
            <a:lvl1pPr algn="r">
              <a:defRPr sz="1000" b="0" i="0">
                <a:solidFill>
                  <a:schemeClr val="bg1">
                    <a:lumMod val="50000"/>
                  </a:schemeClr>
                </a:solidFill>
                <a:latin typeface="BISansOptiCond"/>
                <a:cs typeface="BISansOptiCond"/>
              </a:defRPr>
            </a:lvl1pPr>
          </a:lstStyle>
          <a:p>
            <a:fld id="{143B55C4-4F5A-416B-997D-6CE47EB0A945}" type="slidenum">
              <a:rPr lang="en-GB" noProof="0" smtClean="0"/>
              <a:pPr/>
              <a:t>‹#›</a:t>
            </a:fld>
            <a:endParaRPr lang="en-GB" noProof="0"/>
          </a:p>
        </p:txBody>
      </p:sp>
      <p:grpSp>
        <p:nvGrpSpPr>
          <p:cNvPr id="17" name="Gruppieren 16"/>
          <p:cNvGrpSpPr/>
          <p:nvPr/>
        </p:nvGrpSpPr>
        <p:grpSpPr>
          <a:xfrm>
            <a:off x="182826" y="36709"/>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286505537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711" r:id="rId3"/>
    <p:sldLayoutId id="2147483712" r:id="rId4"/>
    <p:sldLayoutId id="2147483713"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54" r:id="rId19"/>
    <p:sldLayoutId id="2147483755" r:id="rId20"/>
    <p:sldLayoutId id="2147483756" r:id="rId21"/>
    <p:sldLayoutId id="2147483757" r:id="rId22"/>
    <p:sldLayoutId id="2147483758" r:id="rId23"/>
    <p:sldLayoutId id="2147483759" r:id="rId24"/>
    <p:sldLayoutId id="2147483760" r:id="rId25"/>
    <p:sldLayoutId id="2147483780" r:id="rId26"/>
    <p:sldLayoutId id="2147483781"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400" b="0" i="0" kern="1200">
          <a:solidFill>
            <a:srgbClr val="003366"/>
          </a:solidFill>
          <a:latin typeface="BISansOptiCond"/>
          <a:ea typeface="+mj-ea"/>
          <a:cs typeface="BISansOptiCond"/>
        </a:defRPr>
      </a:lvl1pPr>
    </p:titleStyle>
    <p:bodyStyle>
      <a:lvl1pPr marL="266700" indent="-266700" algn="l" defTabSz="914400" rtl="0" eaLnBrk="1" latinLnBrk="0" hangingPunct="1">
        <a:spcBef>
          <a:spcPts val="400"/>
        </a:spcBef>
        <a:buFont typeface="Arial" panose="020B0604020202020204" pitchFamily="34" charset="0"/>
        <a:buChar char="•"/>
        <a:defRPr sz="2000" kern="1200">
          <a:solidFill>
            <a:schemeClr val="tx1"/>
          </a:solidFill>
          <a:latin typeface="BISansOpti"/>
          <a:ea typeface="+mn-ea"/>
          <a:cs typeface="BISansOpti"/>
        </a:defRPr>
      </a:lvl1pPr>
      <a:lvl2pPr marL="450850" indent="-18415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2pPr>
      <a:lvl3pPr marL="628650" indent="-17780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3pPr>
      <a:lvl4pPr marL="806450" indent="-17780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4pPr>
      <a:lvl5pPr marL="984250" indent="-177800" algn="l" defTabSz="914400" rtl="0" eaLnBrk="1" latinLnBrk="0" hangingPunct="1">
        <a:spcBef>
          <a:spcPts val="0"/>
        </a:spcBef>
        <a:buFont typeface="Wingdings" panose="05000000000000000000" pitchFamily="2" charset="2"/>
        <a:buChar char="§"/>
        <a:defRPr sz="1600" kern="1200">
          <a:solidFill>
            <a:schemeClr val="tx1"/>
          </a:solidFill>
          <a:latin typeface="BISansOpti"/>
          <a:ea typeface="+mn-ea"/>
          <a:cs typeface="BISansOpti"/>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3.gif"/><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png"/><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6.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oleObject" Target="../embeddings/oleObject1.bin"/><Relationship Id="rId2" Type="http://schemas.openxmlformats.org/officeDocument/2006/relationships/tags" Target="../tags/tag2.xml"/><Relationship Id="rId16" Type="http://schemas.openxmlformats.org/officeDocument/2006/relationships/notesSlide" Target="../notesSlides/notesSlide1.xml"/><Relationship Id="rId20" Type="http://schemas.openxmlformats.org/officeDocument/2006/relationships/image" Target="../media/image8.sv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8.xml"/><Relationship Id="rId10" Type="http://schemas.openxmlformats.org/officeDocument/2006/relationships/tags" Target="../tags/tag10.xml"/><Relationship Id="rId19" Type="http://schemas.openxmlformats.org/officeDocument/2006/relationships/image" Target="../media/image7.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6.xml"/><Relationship Id="rId4" Type="http://schemas.openxmlformats.org/officeDocument/2006/relationships/image" Target="../media/image32.png"/></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5.xml"/><Relationship Id="rId5" Type="http://schemas.openxmlformats.org/officeDocument/2006/relationships/image" Target="../media/image36.png"/><Relationship Id="rId4" Type="http://schemas.openxmlformats.org/officeDocument/2006/relationships/image" Target="../media/image35.png"/></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5.xml"/><Relationship Id="rId4" Type="http://schemas.openxmlformats.org/officeDocument/2006/relationships/image" Target="../media/image39.png"/></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367575" y="1991163"/>
            <a:ext cx="5884369" cy="1477328"/>
          </a:xfrm>
        </p:spPr>
        <p:txBody>
          <a:bodyPr/>
          <a:lstStyle/>
          <a:p>
            <a:r>
              <a:rPr lang="en-GB" dirty="0"/>
              <a:t>Nuclear forces with quantum computers</a:t>
            </a:r>
          </a:p>
        </p:txBody>
      </p:sp>
      <p:sp>
        <p:nvSpPr>
          <p:cNvPr id="3" name="Untertitel 2"/>
          <p:cNvSpPr>
            <a:spLocks noGrp="1"/>
          </p:cNvSpPr>
          <p:nvPr>
            <p:ph type="subTitle" idx="1"/>
          </p:nvPr>
        </p:nvSpPr>
        <p:spPr/>
        <p:txBody>
          <a:bodyPr/>
          <a:lstStyle/>
          <a:p>
            <a:r>
              <a:rPr lang="en-GB" dirty="0"/>
              <a:t>Matthias Degroote</a:t>
            </a:r>
          </a:p>
        </p:txBody>
      </p:sp>
    </p:spTree>
    <p:extLst>
      <p:ext uri="{BB962C8B-B14F-4D97-AF65-F5344CB8AC3E}">
        <p14:creationId xmlns:p14="http://schemas.microsoft.com/office/powerpoint/2010/main" val="1576342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Forces in NISQ</a:t>
            </a:r>
          </a:p>
        </p:txBody>
      </p:sp>
      <p:sp>
        <p:nvSpPr>
          <p:cNvPr id="3" name="Textplatzhalter 2"/>
          <p:cNvSpPr>
            <a:spLocks noGrp="1"/>
          </p:cNvSpPr>
          <p:nvPr>
            <p:ph type="body" sz="quarter" idx="12"/>
          </p:nvPr>
        </p:nvSpPr>
        <p:spPr/>
        <p:txBody>
          <a:bodyPr/>
          <a:lstStyle/>
          <a:p>
            <a:endParaRPr lang="en-GB" dirty="0"/>
          </a:p>
        </p:txBody>
      </p:sp>
    </p:spTree>
    <p:extLst>
      <p:ext uri="{BB962C8B-B14F-4D97-AF65-F5344CB8AC3E}">
        <p14:creationId xmlns:p14="http://schemas.microsoft.com/office/powerpoint/2010/main" val="289765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B4EC48C-1B95-4CFF-9CC0-4E73A5EA3E9D}"/>
              </a:ext>
            </a:extLst>
          </p:cNvPr>
          <p:cNvSpPr>
            <a:spLocks noGrp="1"/>
          </p:cNvSpPr>
          <p:nvPr>
            <p:ph type="title"/>
          </p:nvPr>
        </p:nvSpPr>
        <p:spPr/>
        <p:txBody>
          <a:bodyPr/>
          <a:lstStyle/>
          <a:p>
            <a:r>
              <a:rPr lang="en-US" dirty="0"/>
              <a:t>Energy calculation in NISQ with VQE</a:t>
            </a:r>
          </a:p>
        </p:txBody>
      </p:sp>
      <p:pic>
        <p:nvPicPr>
          <p:cNvPr id="8" name="Content Placeholder 7" descr="Schematic representation of the energy calculation with VQE. The diagram shows the circuit consisting of parametrized gates which needs to be measured. The classical computer is then used to update the parameters of the circuit in order to minimize the energy.&#10;">
            <a:extLst>
              <a:ext uri="{FF2B5EF4-FFF2-40B4-BE49-F238E27FC236}">
                <a16:creationId xmlns:a16="http://schemas.microsoft.com/office/drawing/2014/main" id="{9DFF3580-1F91-418E-935A-D4E1265A7B35}"/>
              </a:ext>
            </a:extLst>
          </p:cNvPr>
          <p:cNvPicPr>
            <a:picLocks noGrp="1" noChangeAspect="1"/>
          </p:cNvPicPr>
          <p:nvPr>
            <p:ph sz="quarter" idx="15"/>
          </p:nvPr>
        </p:nvPicPr>
        <p:blipFill>
          <a:blip r:embed="rId2"/>
          <a:stretch>
            <a:fillRect/>
          </a:stretch>
        </p:blipFill>
        <p:spPr>
          <a:xfrm>
            <a:off x="2035278" y="982161"/>
            <a:ext cx="4796258" cy="3789044"/>
          </a:xfrm>
        </p:spPr>
      </p:pic>
      <p:sp>
        <p:nvSpPr>
          <p:cNvPr id="9" name="TextBox 8">
            <a:extLst>
              <a:ext uri="{FF2B5EF4-FFF2-40B4-BE49-F238E27FC236}">
                <a16:creationId xmlns:a16="http://schemas.microsoft.com/office/drawing/2014/main" id="{D84A035F-E0FA-4975-A942-9C0C19EC0668}"/>
              </a:ext>
            </a:extLst>
          </p:cNvPr>
          <p:cNvSpPr txBox="1"/>
          <p:nvPr/>
        </p:nvSpPr>
        <p:spPr>
          <a:xfrm>
            <a:off x="5607844" y="4041665"/>
            <a:ext cx="3457114" cy="646331"/>
          </a:xfrm>
          <a:prstGeom prst="rect">
            <a:avLst/>
          </a:prstGeom>
          <a:noFill/>
        </p:spPr>
        <p:txBody>
          <a:bodyPr wrap="square" lIns="0" tIns="0" rIns="0" bIns="0" rtlCol="0">
            <a:spAutoFit/>
          </a:bodyPr>
          <a:lstStyle/>
          <a:p>
            <a:r>
              <a:rPr lang="en-US" sz="1400" dirty="0"/>
              <a:t>Cao, Y </a:t>
            </a:r>
            <a:r>
              <a:rPr lang="en-US" sz="1400" i="1" dirty="0"/>
              <a:t>et al</a:t>
            </a:r>
            <a:r>
              <a:rPr lang="en-US" sz="1400" dirty="0"/>
              <a:t>. Quantum chemistry in the age of quantum computing. </a:t>
            </a:r>
            <a:r>
              <a:rPr lang="en-US" sz="1400" i="1" dirty="0"/>
              <a:t>Chem. Rev. </a:t>
            </a:r>
            <a:r>
              <a:rPr lang="en-US" sz="1400" dirty="0"/>
              <a:t>(2019) 119 19 doi:10.1021/acs.chemrev.8b00803</a:t>
            </a:r>
          </a:p>
        </p:txBody>
      </p:sp>
    </p:spTree>
    <p:extLst>
      <p:ext uri="{BB962C8B-B14F-4D97-AF65-F5344CB8AC3E}">
        <p14:creationId xmlns:p14="http://schemas.microsoft.com/office/powerpoint/2010/main" val="3059661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327A5967-0C85-4F18-B149-98DE501CE0AC}"/>
                  </a:ext>
                </a:extLst>
              </p:cNvPr>
              <p:cNvSpPr>
                <a:spLocks noGrp="1"/>
              </p:cNvSpPr>
              <p:nvPr>
                <p:ph idx="1"/>
              </p:nvPr>
            </p:nvSpPr>
            <p:spPr/>
            <p:txBody>
              <a:bodyPr/>
              <a:lstStyle/>
              <a:p>
                <a:pPr marL="0" indent="0">
                  <a:buNone/>
                </a:pPr>
                <a:r>
                  <a:rPr lang="en-US" sz="1800" dirty="0"/>
                  <a:t>We can apply a centered 2</a:t>
                </a:r>
                <a:r>
                  <a:rPr lang="en-US" sz="1800" baseline="30000" dirty="0"/>
                  <a:t>nd</a:t>
                </a:r>
                <a:r>
                  <a:rPr lang="en-US" sz="1800" dirty="0"/>
                  <a:t> order finite difference formula</a:t>
                </a:r>
              </a:p>
              <a:p>
                <a:pPr marL="0" indent="0">
                  <a:buNone/>
                </a:pPr>
                <a14:m>
                  <m:oMathPara xmlns:m="http://schemas.openxmlformats.org/officeDocument/2006/math">
                    <m:oMathParaPr>
                      <m:jc m:val="centerGroup"/>
                    </m:oMathParaPr>
                    <m:oMath xmlns:m="http://schemas.openxmlformats.org/officeDocument/2006/math">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r>
                            <a:rPr lang="en-US" sz="1600" i="1">
                              <a:latin typeface="Cambria Math" panose="02040503050406030204" pitchFamily="18" charset="0"/>
                            </a:rPr>
                            <m:t>𝐸</m:t>
                          </m:r>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r>
                        <m:rPr>
                          <m:aln/>
                        </m:rPr>
                        <a:rPr lang="en-US" sz="1600" b="0" i="1" smtClean="0">
                          <a:latin typeface="Cambria Math" panose="02040503050406030204" pitchFamily="18" charset="0"/>
                        </a:rPr>
                        <m:t>=</m:t>
                      </m:r>
                      <m:func>
                        <m:funcPr>
                          <m:ctrlPr>
                            <a:rPr lang="en-US" sz="1600" b="0" i="1" smtClean="0">
                              <a:latin typeface="Cambria Math" panose="02040503050406030204" pitchFamily="18" charset="0"/>
                            </a:rPr>
                          </m:ctrlPr>
                        </m:funcPr>
                        <m:fName>
                          <m:limLow>
                            <m:limLowPr>
                              <m:ctrlPr>
                                <a:rPr lang="en-US" sz="1600" b="0" i="1" smtClean="0">
                                  <a:latin typeface="Cambria Math" panose="02040503050406030204" pitchFamily="18" charset="0"/>
                                </a:rPr>
                              </m:ctrlPr>
                            </m:limLowPr>
                            <m:e>
                              <m:r>
                                <m:rPr>
                                  <m:sty m:val="p"/>
                                </m:rPr>
                                <a:rPr lang="en-US" sz="1600" b="0" i="0" smtClean="0">
                                  <a:latin typeface="Cambria Math" panose="02040503050406030204" pitchFamily="18" charset="0"/>
                                </a:rPr>
                                <m:t>lim</m:t>
                              </m:r>
                            </m:e>
                            <m:lim>
                              <m:r>
                                <a:rPr lang="en-US" sz="1600" b="0" i="1" smtClean="0">
                                  <a:latin typeface="Cambria Math" panose="02040503050406030204" pitchFamily="18" charset="0"/>
                                </a:rPr>
                                <m:t>|</m:t>
                              </m:r>
                              <m:r>
                                <a:rPr lang="en-US" sz="1600" b="1" i="1" smtClean="0">
                                  <a:latin typeface="Cambria Math" panose="02040503050406030204" pitchFamily="18" charset="0"/>
                                </a:rPr>
                                <m:t>𝜹</m:t>
                              </m:r>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𝑹</m:t>
                                  </m:r>
                                </m:e>
                                <m:sub>
                                  <m:r>
                                    <a:rPr lang="en-US" sz="1600" b="1" i="1" smtClean="0">
                                      <a:latin typeface="Cambria Math" panose="02040503050406030204" pitchFamily="18" charset="0"/>
                                    </a:rPr>
                                    <m:t>𝑰</m:t>
                                  </m:r>
                                </m:sub>
                              </m:sSub>
                              <m:r>
                                <a:rPr lang="en-US" sz="1600" b="0" i="1" smtClean="0">
                                  <a:latin typeface="Cambria Math" panose="02040503050406030204" pitchFamily="18" charset="0"/>
                                </a:rPr>
                                <m:t>|→0</m:t>
                              </m:r>
                            </m:lim>
                          </m:limLow>
                        </m:fName>
                        <m:e>
                          <m:f>
                            <m:fPr>
                              <m:ctrlPr>
                                <a:rPr lang="en-US" sz="1600" b="0" i="1" smtClean="0">
                                  <a:latin typeface="Cambria Math" panose="02040503050406030204" pitchFamily="18" charset="0"/>
                                </a:rPr>
                              </m:ctrlPr>
                            </m:fPr>
                            <m:num>
                              <m:r>
                                <a:rPr lang="en-US" sz="1600" b="0" i="1" smtClean="0">
                                  <a:latin typeface="Cambria Math" panose="02040503050406030204" pitchFamily="18" charset="0"/>
                                </a:rPr>
                                <m:t>𝐸</m:t>
                              </m:r>
                              <m:d>
                                <m:dPr>
                                  <m:ctrlPr>
                                    <a:rPr lang="en-US" sz="1600" b="0" i="1" smtClean="0">
                                      <a:latin typeface="Cambria Math" panose="02040503050406030204" pitchFamily="18" charset="0"/>
                                    </a:rPr>
                                  </m:ctrlPr>
                                </m:dPr>
                                <m:e>
                                  <m:r>
                                    <a:rPr lang="en-US" sz="1600" b="1" i="1" smtClean="0">
                                      <a:latin typeface="Cambria Math" panose="02040503050406030204" pitchFamily="18" charset="0"/>
                                    </a:rPr>
                                    <m:t>𝑹</m:t>
                                  </m:r>
                                  <m:r>
                                    <a:rPr lang="en-US" sz="1600" b="0" i="1" smtClean="0">
                                      <a:latin typeface="Cambria Math" panose="02040503050406030204" pitchFamily="18" charset="0"/>
                                    </a:rPr>
                                    <m:t>+</m:t>
                                  </m:r>
                                  <m:r>
                                    <a:rPr lang="en-US" sz="1600" b="1" i="1" smtClean="0">
                                      <a:latin typeface="Cambria Math" panose="02040503050406030204" pitchFamily="18" charset="0"/>
                                    </a:rPr>
                                    <m:t>𝜹</m:t>
                                  </m:r>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𝑹</m:t>
                                      </m:r>
                                    </m:e>
                                    <m:sub>
                                      <m:r>
                                        <a:rPr lang="en-US" sz="1600" b="1" i="1" smtClean="0">
                                          <a:latin typeface="Cambria Math" panose="02040503050406030204" pitchFamily="18" charset="0"/>
                                        </a:rPr>
                                        <m:t>𝑰</m:t>
                                      </m:r>
                                    </m:sub>
                                  </m:sSub>
                                </m:e>
                              </m:d>
                              <m:r>
                                <a:rPr lang="en-US" sz="1600" b="0" i="1" smtClean="0">
                                  <a:latin typeface="Cambria Math" panose="02040503050406030204" pitchFamily="18" charset="0"/>
                                </a:rPr>
                                <m:t>−</m:t>
                              </m:r>
                              <m:r>
                                <a:rPr lang="en-US" sz="1600" b="0" i="1" smtClean="0">
                                  <a:latin typeface="Cambria Math" panose="02040503050406030204" pitchFamily="18" charset="0"/>
                                </a:rPr>
                                <m:t>𝐸</m:t>
                              </m:r>
                              <m:r>
                                <a:rPr lang="en-US" sz="1600" b="0" i="1" smtClean="0">
                                  <a:latin typeface="Cambria Math" panose="02040503050406030204" pitchFamily="18" charset="0"/>
                                </a:rPr>
                                <m:t>(</m:t>
                              </m:r>
                              <m:r>
                                <a:rPr lang="en-US" sz="1600" b="1" i="1" smtClean="0">
                                  <a:latin typeface="Cambria Math" panose="02040503050406030204" pitchFamily="18" charset="0"/>
                                </a:rPr>
                                <m:t>𝑹</m:t>
                              </m:r>
                              <m:r>
                                <a:rPr lang="en-US" sz="1600" b="0" i="1" smtClean="0">
                                  <a:latin typeface="Cambria Math" panose="02040503050406030204" pitchFamily="18" charset="0"/>
                                </a:rPr>
                                <m:t>−</m:t>
                              </m:r>
                              <m:r>
                                <a:rPr lang="en-US" sz="1600" b="0" i="1" smtClean="0">
                                  <a:latin typeface="Cambria Math" panose="02040503050406030204" pitchFamily="18" charset="0"/>
                                </a:rPr>
                                <m:t>𝛿</m:t>
                              </m:r>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𝑹</m:t>
                                  </m:r>
                                </m:e>
                                <m:sub>
                                  <m:r>
                                    <a:rPr lang="en-US" sz="1600" b="1" i="1" smtClean="0">
                                      <a:latin typeface="Cambria Math" panose="02040503050406030204" pitchFamily="18" charset="0"/>
                                    </a:rPr>
                                    <m:t>𝑰</m:t>
                                  </m:r>
                                </m:sub>
                              </m:sSub>
                              <m:r>
                                <a:rPr lang="en-US" sz="1600" b="0" i="1" smtClean="0">
                                  <a:latin typeface="Cambria Math" panose="02040503050406030204" pitchFamily="18" charset="0"/>
                                </a:rPr>
                                <m:t>)</m:t>
                              </m:r>
                            </m:num>
                            <m:den>
                              <m:r>
                                <a:rPr lang="en-US" sz="1600" b="0" i="1" smtClean="0">
                                  <a:latin typeface="Cambria Math" panose="02040503050406030204" pitchFamily="18" charset="0"/>
                                </a:rPr>
                                <m:t>2</m:t>
                              </m:r>
                              <m:d>
                                <m:dPr>
                                  <m:begChr m:val="|"/>
                                  <m:endChr m:val="|"/>
                                  <m:ctrlPr>
                                    <a:rPr lang="en-US" sz="1600" i="1">
                                      <a:latin typeface="Cambria Math" panose="02040503050406030204" pitchFamily="18" charset="0"/>
                                    </a:rPr>
                                  </m:ctrlPr>
                                </m:dPr>
                                <m:e>
                                  <m:r>
                                    <a:rPr lang="en-US" sz="1600" b="1" i="1">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e>
                              </m:d>
                            </m:den>
                          </m:f>
                        </m:e>
                      </m:func>
                    </m:oMath>
                    <m:oMath xmlns:m="http://schemas.openxmlformats.org/officeDocument/2006/math">
                      <m:r>
                        <m:rPr>
                          <m:aln/>
                        </m:rPr>
                        <a:rPr lang="en-US" sz="1600" i="1" smtClean="0">
                          <a:latin typeface="Cambria Math" panose="02040503050406030204" pitchFamily="18" charset="0"/>
                          <a:ea typeface="Cambria Math" panose="02040503050406030204" pitchFamily="18" charset="0"/>
                        </a:rPr>
                        <m:t>≅</m:t>
                      </m:r>
                      <m:f>
                        <m:fPr>
                          <m:ctrlPr>
                            <a:rPr lang="en-US" sz="1600" i="1">
                              <a:latin typeface="Cambria Math" panose="02040503050406030204" pitchFamily="18" charset="0"/>
                            </a:rPr>
                          </m:ctrlPr>
                        </m:fPr>
                        <m:num>
                          <m:d>
                            <m:dPr>
                              <m:begChr m:val="⟨"/>
                              <m:endChr m:val="⟩"/>
                              <m:ctrlPr>
                                <a:rPr lang="en-US" sz="1600" i="1">
                                  <a:latin typeface="Cambria Math" panose="02040503050406030204" pitchFamily="18" charset="0"/>
                                </a:rPr>
                              </m:ctrlPr>
                            </m:dPr>
                            <m:e>
                              <m:r>
                                <m:rPr>
                                  <m:sty m:val="p"/>
                                </m:rPr>
                                <a:rPr lang="en-US" sz="1600">
                                  <a:latin typeface="Cambria Math" panose="02040503050406030204" pitchFamily="18" charset="0"/>
                                </a:rPr>
                                <m:t>Ψ</m:t>
                              </m:r>
                              <m:r>
                                <a:rPr lang="en-US" sz="1600" i="1">
                                  <a:latin typeface="Cambria Math" panose="02040503050406030204" pitchFamily="18" charset="0"/>
                                </a:rPr>
                                <m:t>(</m:t>
                              </m:r>
                              <m:r>
                                <a:rPr lang="en-US" sz="1600" b="1" i="1">
                                  <a:latin typeface="Cambria Math" panose="02040503050406030204" pitchFamily="18" charset="0"/>
                                </a:rPr>
                                <m:t>𝑹</m:t>
                              </m:r>
                              <m:r>
                                <a:rPr lang="en-US" sz="1600" i="1">
                                  <a:latin typeface="Cambria Math" panose="02040503050406030204" pitchFamily="18" charset="0"/>
                                </a:rPr>
                                <m:t>+</m:t>
                              </m:r>
                              <m:r>
                                <a:rPr lang="en-US" sz="1600" b="1" i="1">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r>
                                <a:rPr lang="en-US" sz="1600" i="1">
                                  <a:latin typeface="Cambria Math" panose="02040503050406030204" pitchFamily="18" charset="0"/>
                                </a:rPr>
                                <m:t>)</m:t>
                              </m:r>
                            </m:e>
                            <m:e>
                              <m:r>
                                <m:rPr>
                                  <m:sty m:val="p"/>
                                </m:rPr>
                                <a:rPr lang="en-US" sz="1600">
                                  <a:latin typeface="Cambria Math" panose="02040503050406030204" pitchFamily="18" charset="0"/>
                                </a:rPr>
                                <m:t>H</m:t>
                              </m:r>
                              <m:r>
                                <a:rPr lang="en-US" sz="1600" i="1">
                                  <a:latin typeface="Cambria Math" panose="02040503050406030204" pitchFamily="18" charset="0"/>
                                </a:rPr>
                                <m:t>(</m:t>
                              </m:r>
                              <m:r>
                                <a:rPr lang="en-US" sz="1600" b="1" i="1">
                                  <a:latin typeface="Cambria Math" panose="02040503050406030204" pitchFamily="18" charset="0"/>
                                </a:rPr>
                                <m:t>𝑹</m:t>
                              </m:r>
                              <m:r>
                                <a:rPr lang="en-US" sz="1600" i="1">
                                  <a:latin typeface="Cambria Math" panose="02040503050406030204" pitchFamily="18" charset="0"/>
                                </a:rPr>
                                <m:t>+</m:t>
                              </m:r>
                              <m:r>
                                <a:rPr lang="en-US" sz="1600" b="1" i="1" smtClean="0">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r>
                                <a:rPr lang="en-US" sz="1600" i="1">
                                  <a:latin typeface="Cambria Math" panose="02040503050406030204" pitchFamily="18" charset="0"/>
                                </a:rPr>
                                <m:t>)</m:t>
                              </m:r>
                            </m:e>
                            <m:e>
                              <m:r>
                                <m:rPr>
                                  <m:sty m:val="p"/>
                                </m:rPr>
                                <a:rPr lang="en-US" sz="1600">
                                  <a:latin typeface="Cambria Math" panose="02040503050406030204" pitchFamily="18" charset="0"/>
                                </a:rPr>
                                <m:t>Ψ</m:t>
                              </m:r>
                              <m:r>
                                <a:rPr lang="en-US" sz="1600" i="1">
                                  <a:latin typeface="Cambria Math" panose="02040503050406030204" pitchFamily="18" charset="0"/>
                                </a:rPr>
                                <m:t>(</m:t>
                              </m:r>
                              <m:r>
                                <a:rPr lang="en-US" sz="1600" b="1" i="1">
                                  <a:latin typeface="Cambria Math" panose="02040503050406030204" pitchFamily="18" charset="0"/>
                                </a:rPr>
                                <m:t>𝑹</m:t>
                              </m:r>
                              <m:r>
                                <a:rPr lang="en-US" sz="1600" i="1">
                                  <a:latin typeface="Cambria Math" panose="02040503050406030204" pitchFamily="18" charset="0"/>
                                </a:rPr>
                                <m:t>+</m:t>
                              </m:r>
                              <m:r>
                                <a:rPr lang="en-US" sz="1600" b="1" i="1">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r>
                                <a:rPr lang="en-US" sz="1600" i="1">
                                  <a:latin typeface="Cambria Math" panose="02040503050406030204" pitchFamily="18" charset="0"/>
                                </a:rPr>
                                <m:t>)</m:t>
                              </m:r>
                            </m:e>
                          </m:d>
                          <m:r>
                            <a:rPr lang="en-US" sz="1600" i="1">
                              <a:latin typeface="Cambria Math" panose="02040503050406030204" pitchFamily="18" charset="0"/>
                            </a:rPr>
                            <m:t>−</m:t>
                          </m:r>
                          <m:d>
                            <m:dPr>
                              <m:begChr m:val="⟨"/>
                              <m:endChr m:val="⟩"/>
                              <m:ctrlPr>
                                <a:rPr lang="en-US" sz="1600" i="1">
                                  <a:latin typeface="Cambria Math" panose="02040503050406030204" pitchFamily="18" charset="0"/>
                                </a:rPr>
                              </m:ctrlPr>
                            </m:dPr>
                            <m:e>
                              <m:r>
                                <m:rPr>
                                  <m:sty m:val="p"/>
                                </m:rPr>
                                <a:rPr lang="en-US" sz="1600">
                                  <a:latin typeface="Cambria Math" panose="02040503050406030204" pitchFamily="18" charset="0"/>
                                </a:rPr>
                                <m:t>Ψ</m:t>
                              </m:r>
                              <m:r>
                                <a:rPr lang="en-US" sz="1600" i="1">
                                  <a:latin typeface="Cambria Math" panose="02040503050406030204" pitchFamily="18" charset="0"/>
                                </a:rPr>
                                <m:t>(</m:t>
                              </m:r>
                              <m:r>
                                <a:rPr lang="en-US" sz="1600" b="1" i="1">
                                  <a:latin typeface="Cambria Math" panose="02040503050406030204" pitchFamily="18" charset="0"/>
                                </a:rPr>
                                <m:t>𝑹</m:t>
                              </m:r>
                              <m:r>
                                <a:rPr lang="en-US" sz="1600">
                                  <a:latin typeface="Cambria Math" panose="02040503050406030204" pitchFamily="18" charset="0"/>
                                </a:rPr>
                                <m:t>−</m:t>
                              </m:r>
                              <m:r>
                                <a:rPr lang="en-US" sz="1600" b="1" i="1">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r>
                                <a:rPr lang="en-US" sz="1600" i="1">
                                  <a:latin typeface="Cambria Math" panose="02040503050406030204" pitchFamily="18" charset="0"/>
                                </a:rPr>
                                <m:t>)</m:t>
                              </m:r>
                            </m:e>
                            <m:e>
                              <m:r>
                                <m:rPr>
                                  <m:sty m:val="p"/>
                                </m:rPr>
                                <a:rPr lang="en-US" sz="1600">
                                  <a:latin typeface="Cambria Math" panose="02040503050406030204" pitchFamily="18" charset="0"/>
                                </a:rPr>
                                <m:t>H</m:t>
                              </m:r>
                              <m:r>
                                <a:rPr lang="en-US" sz="1600" i="1">
                                  <a:latin typeface="Cambria Math" panose="02040503050406030204" pitchFamily="18" charset="0"/>
                                </a:rPr>
                                <m:t>(</m:t>
                              </m:r>
                              <m:r>
                                <a:rPr lang="en-US" sz="1600" b="1" i="1">
                                  <a:latin typeface="Cambria Math" panose="02040503050406030204" pitchFamily="18" charset="0"/>
                                </a:rPr>
                                <m:t>𝑹</m:t>
                              </m:r>
                              <m:r>
                                <a:rPr lang="en-US" sz="1600">
                                  <a:latin typeface="Cambria Math" panose="02040503050406030204" pitchFamily="18" charset="0"/>
                                </a:rPr>
                                <m:t>−</m:t>
                              </m:r>
                              <m:r>
                                <a:rPr lang="en-US" sz="1600" b="1" i="1">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r>
                                <a:rPr lang="en-US" sz="1600" i="1">
                                  <a:latin typeface="Cambria Math" panose="02040503050406030204" pitchFamily="18" charset="0"/>
                                </a:rPr>
                                <m:t>)</m:t>
                              </m:r>
                            </m:e>
                            <m:e>
                              <m:r>
                                <m:rPr>
                                  <m:sty m:val="p"/>
                                </m:rPr>
                                <a:rPr lang="en-US" sz="1600">
                                  <a:latin typeface="Cambria Math" panose="02040503050406030204" pitchFamily="18" charset="0"/>
                                </a:rPr>
                                <m:t>Ψ</m:t>
                              </m:r>
                              <m:r>
                                <a:rPr lang="en-US" sz="1600" i="1">
                                  <a:latin typeface="Cambria Math" panose="02040503050406030204" pitchFamily="18" charset="0"/>
                                </a:rPr>
                                <m:t>(</m:t>
                              </m:r>
                              <m:r>
                                <a:rPr lang="en-US" sz="1600" b="1" i="1">
                                  <a:latin typeface="Cambria Math" panose="02040503050406030204" pitchFamily="18" charset="0"/>
                                </a:rPr>
                                <m:t>𝑹</m:t>
                              </m:r>
                              <m:r>
                                <a:rPr lang="en-US" sz="1600" i="1">
                                  <a:latin typeface="Cambria Math" panose="02040503050406030204" pitchFamily="18" charset="0"/>
                                </a:rPr>
                                <m:t>−</m:t>
                              </m:r>
                              <m:r>
                                <a:rPr lang="en-US" sz="1600" b="1" i="1">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r>
                                <a:rPr lang="en-US" sz="1600" i="1">
                                  <a:latin typeface="Cambria Math" panose="02040503050406030204" pitchFamily="18" charset="0"/>
                                </a:rPr>
                                <m:t>)</m:t>
                              </m:r>
                            </m:e>
                          </m:d>
                        </m:num>
                        <m:den>
                          <m:r>
                            <a:rPr lang="en-US" sz="1600" i="1">
                              <a:latin typeface="Cambria Math" panose="02040503050406030204" pitchFamily="18" charset="0"/>
                            </a:rPr>
                            <m:t>2</m:t>
                          </m:r>
                          <m:d>
                            <m:dPr>
                              <m:begChr m:val="|"/>
                              <m:endChr m:val="|"/>
                              <m:ctrlPr>
                                <a:rPr lang="en-US" sz="1600" i="1" smtClean="0">
                                  <a:latin typeface="Cambria Math" panose="02040503050406030204" pitchFamily="18" charset="0"/>
                                </a:rPr>
                              </m:ctrlPr>
                            </m:dPr>
                            <m:e>
                              <m:r>
                                <a:rPr lang="en-US" sz="1600" b="1" i="1">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e>
                          </m:d>
                        </m:den>
                      </m:f>
                    </m:oMath>
                  </m:oMathPara>
                </a14:m>
                <a:endParaRPr lang="en-US" sz="1600" dirty="0"/>
              </a:p>
              <a:p>
                <a:pPr marL="0" indent="0">
                  <a:buNone/>
                </a:pPr>
                <a:r>
                  <a:rPr lang="en-US" sz="1800" dirty="0"/>
                  <a:t>This means </a:t>
                </a:r>
                <a14:m>
                  <m:oMath xmlns:m="http://schemas.openxmlformats.org/officeDocument/2006/math">
                    <m:r>
                      <a:rPr lang="en-US" sz="1800" i="1">
                        <a:latin typeface="Cambria Math" panose="02040503050406030204" pitchFamily="18" charset="0"/>
                      </a:rPr>
                      <m:t>6</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𝑁</m:t>
                        </m:r>
                      </m:e>
                      <m:sub>
                        <m:r>
                          <a:rPr lang="en-US" sz="1800" b="0" i="1" smtClean="0">
                            <a:latin typeface="Cambria Math" panose="02040503050406030204" pitchFamily="18" charset="0"/>
                          </a:rPr>
                          <m:t>𝑎</m:t>
                        </m:r>
                      </m:sub>
                    </m:sSub>
                  </m:oMath>
                </a14:m>
                <a:r>
                  <a:rPr lang="en-US" sz="1800" dirty="0"/>
                  <a:t> new ground state VQE calculations, although parameters will be similar.</a:t>
                </a:r>
              </a:p>
              <a:p>
                <a:pPr marL="0" indent="0">
                  <a:buNone/>
                </a:pPr>
                <a:endParaRPr lang="en-US" sz="1800" dirty="0"/>
              </a:p>
              <a:p>
                <a:pPr marL="0" indent="0">
                  <a:buNone/>
                </a:pPr>
                <a:r>
                  <a:rPr lang="en-US" sz="1800" dirty="0"/>
                  <a:t>There are two important simulation problems:</a:t>
                </a:r>
              </a:p>
              <a:p>
                <a:pPr marL="469900" lvl="1" indent="-285750"/>
                <a:r>
                  <a:rPr lang="en-US" sz="1400" dirty="0"/>
                  <a:t>Numerical derivatives in MD can be very unstable in terms of the increment </a:t>
                </a:r>
                <a14:m>
                  <m:oMath xmlns:m="http://schemas.openxmlformats.org/officeDocument/2006/math">
                    <m:r>
                      <a:rPr lang="en-US" sz="1400" b="1" i="1" smtClean="0">
                        <a:latin typeface="Cambria Math" panose="02040503050406030204" pitchFamily="18" charset="0"/>
                      </a:rPr>
                      <m:t>𝜹</m:t>
                    </m:r>
                    <m:sSub>
                      <m:sSubPr>
                        <m:ctrlPr>
                          <a:rPr lang="en-US" sz="1400" b="1" i="1" smtClean="0">
                            <a:latin typeface="Cambria Math" panose="02040503050406030204" pitchFamily="18" charset="0"/>
                          </a:rPr>
                        </m:ctrlPr>
                      </m:sSubPr>
                      <m:e>
                        <m:r>
                          <a:rPr lang="en-US" sz="1400" b="1" i="1" smtClean="0">
                            <a:latin typeface="Cambria Math" panose="02040503050406030204" pitchFamily="18" charset="0"/>
                          </a:rPr>
                          <m:t>𝑹</m:t>
                        </m:r>
                      </m:e>
                      <m:sub>
                        <m:r>
                          <a:rPr lang="en-US" sz="1400" b="1" i="1" smtClean="0">
                            <a:latin typeface="Cambria Math" panose="02040503050406030204" pitchFamily="18" charset="0"/>
                          </a:rPr>
                          <m:t>𝑰</m:t>
                        </m:r>
                      </m:sub>
                    </m:sSub>
                  </m:oMath>
                </a14:m>
                <a:endParaRPr lang="en-US" sz="1400" dirty="0"/>
              </a:p>
              <a:p>
                <a:pPr marL="469900" lvl="1" indent="-285750"/>
                <a:r>
                  <a:rPr lang="en-US" sz="1400" dirty="0"/>
                  <a:t>Noise is amplified by the difference formula</a:t>
                </a:r>
              </a:p>
            </p:txBody>
          </p:sp>
        </mc:Choice>
        <mc:Fallback xmlns="">
          <p:sp>
            <p:nvSpPr>
              <p:cNvPr id="2" name="Content Placeholder 1">
                <a:extLst>
                  <a:ext uri="{FF2B5EF4-FFF2-40B4-BE49-F238E27FC236}">
                    <a16:creationId xmlns:a16="http://schemas.microsoft.com/office/drawing/2014/main" id="{327A5967-0C85-4F18-B149-98DE501CE0AC}"/>
                  </a:ext>
                </a:extLst>
              </p:cNvPr>
              <p:cNvSpPr>
                <a:spLocks noGrp="1" noRot="1" noChangeAspect="1" noMove="1" noResize="1" noEditPoints="1" noAdjustHandles="1" noChangeArrowheads="1" noChangeShapeType="1" noTextEdit="1"/>
              </p:cNvSpPr>
              <p:nvPr>
                <p:ph idx="1"/>
              </p:nvPr>
            </p:nvSpPr>
            <p:spPr>
              <a:blipFill>
                <a:blip r:embed="rId2"/>
                <a:stretch>
                  <a:fillRect l="-1667" t="-2334"/>
                </a:stretch>
              </a:blipFill>
            </p:spPr>
            <p:txBody>
              <a:bodyPr/>
              <a:lstStyle/>
              <a:p>
                <a:r>
                  <a:rPr lang="en-US">
                    <a:noFill/>
                  </a:rPr>
                  <a:t> </a:t>
                </a:r>
              </a:p>
            </p:txBody>
          </p:sp>
        </mc:Fallback>
      </mc:AlternateContent>
      <p:sp>
        <p:nvSpPr>
          <p:cNvPr id="4" name="Slide Number Placeholder 3">
            <a:extLst>
              <a:ext uri="{FF2B5EF4-FFF2-40B4-BE49-F238E27FC236}">
                <a16:creationId xmlns:a16="http://schemas.microsoft.com/office/drawing/2014/main" id="{4F082B96-EE52-4FBD-832B-02D1152EAEFC}"/>
              </a:ext>
            </a:extLst>
          </p:cNvPr>
          <p:cNvSpPr>
            <a:spLocks noGrp="1"/>
          </p:cNvSpPr>
          <p:nvPr>
            <p:ph type="sldNum" sz="quarter" idx="12"/>
          </p:nvPr>
        </p:nvSpPr>
        <p:spPr/>
        <p:txBody>
          <a:bodyPr/>
          <a:lstStyle/>
          <a:p>
            <a:fld id="{143B55C4-4F5A-416B-997D-6CE47EB0A945}" type="slidenum">
              <a:rPr lang="en-GB" noProof="0" smtClean="0"/>
              <a:t>12</a:t>
            </a:fld>
            <a:endParaRPr lang="en-GB" noProof="0" dirty="0"/>
          </a:p>
        </p:txBody>
      </p:sp>
      <p:sp>
        <p:nvSpPr>
          <p:cNvPr id="5" name="Title 4">
            <a:extLst>
              <a:ext uri="{FF2B5EF4-FFF2-40B4-BE49-F238E27FC236}">
                <a16:creationId xmlns:a16="http://schemas.microsoft.com/office/drawing/2014/main" id="{2F85962A-2D28-47A8-8559-0360A19745E6}"/>
              </a:ext>
            </a:extLst>
          </p:cNvPr>
          <p:cNvSpPr>
            <a:spLocks noGrp="1"/>
          </p:cNvSpPr>
          <p:nvPr>
            <p:ph type="title"/>
          </p:nvPr>
        </p:nvSpPr>
        <p:spPr/>
        <p:txBody>
          <a:bodyPr/>
          <a:lstStyle/>
          <a:p>
            <a:r>
              <a:rPr lang="en-US" dirty="0"/>
              <a:t>Numerical derivative through finite differences on the energy</a:t>
            </a:r>
          </a:p>
        </p:txBody>
      </p:sp>
    </p:spTree>
    <p:extLst>
      <p:ext uri="{BB962C8B-B14F-4D97-AF65-F5344CB8AC3E}">
        <p14:creationId xmlns:p14="http://schemas.microsoft.com/office/powerpoint/2010/main" val="191294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5457E4F-4663-4DA3-88AD-D37831A7368A}"/>
              </a:ext>
            </a:extLst>
          </p:cNvPr>
          <p:cNvSpPr>
            <a:spLocks noGrp="1"/>
          </p:cNvSpPr>
          <p:nvPr>
            <p:ph type="sldNum" sz="quarter" idx="12"/>
          </p:nvPr>
        </p:nvSpPr>
        <p:spPr/>
        <p:txBody>
          <a:bodyPr/>
          <a:lstStyle/>
          <a:p>
            <a:fld id="{143B55C4-4F5A-416B-997D-6CE47EB0A945}" type="slidenum">
              <a:rPr lang="en-GB" noProof="0" smtClean="0"/>
              <a:t>13</a:t>
            </a:fld>
            <a:endParaRPr lang="en-GB" noProof="0" dirty="0"/>
          </a:p>
        </p:txBody>
      </p:sp>
      <p:sp>
        <p:nvSpPr>
          <p:cNvPr id="5" name="Title 4">
            <a:extLst>
              <a:ext uri="{FF2B5EF4-FFF2-40B4-BE49-F238E27FC236}">
                <a16:creationId xmlns:a16="http://schemas.microsoft.com/office/drawing/2014/main" id="{7E3CAB37-1229-479C-81D0-227EEB5B502E}"/>
              </a:ext>
            </a:extLst>
          </p:cNvPr>
          <p:cNvSpPr>
            <a:spLocks noGrp="1"/>
          </p:cNvSpPr>
          <p:nvPr>
            <p:ph type="title"/>
          </p:nvPr>
        </p:nvSpPr>
        <p:spPr/>
        <p:txBody>
          <a:bodyPr/>
          <a:lstStyle/>
          <a:p>
            <a:r>
              <a:rPr lang="en-US" dirty="0"/>
              <a:t>Stability issues of numerical derivatives</a:t>
            </a:r>
          </a:p>
        </p:txBody>
      </p:sp>
      <p:pic>
        <p:nvPicPr>
          <p:cNvPr id="16" name="Picture 15" descr="Graph showing the magnitude of the force over a range of separations between two Hydrogen atoms. The magnitude is between 0.8Ha/a0 and 0.1Ha/a0. The inset shows the error one makes for several increments in the finite difference formula in perfect state vector simulation. The conclusion is that the 0.003 a0 and 1e-5 a0. The errors range from .0005 mHa/a0 to -0.0015 mHa/a0.">
            <a:extLst>
              <a:ext uri="{FF2B5EF4-FFF2-40B4-BE49-F238E27FC236}">
                <a16:creationId xmlns:a16="http://schemas.microsoft.com/office/drawing/2014/main" id="{23069B77-FB11-4B57-945A-167877942B68}"/>
              </a:ext>
            </a:extLst>
          </p:cNvPr>
          <p:cNvPicPr>
            <a:picLocks noChangeAspect="1"/>
          </p:cNvPicPr>
          <p:nvPr/>
        </p:nvPicPr>
        <p:blipFill>
          <a:blip r:embed="rId2"/>
          <a:stretch>
            <a:fillRect/>
          </a:stretch>
        </p:blipFill>
        <p:spPr>
          <a:xfrm>
            <a:off x="291354" y="1132914"/>
            <a:ext cx="3979849" cy="2877671"/>
          </a:xfrm>
          <a:prstGeom prst="rect">
            <a:avLst/>
          </a:prstGeom>
        </p:spPr>
      </p:pic>
      <p:pic>
        <p:nvPicPr>
          <p:cNvPr id="18" name="Picture 17" descr="Graph showing the RMS error on the force between two separation distances for several increments between 0.01 a0 and 1e-5 a0. The errors range between 2.1 mHa/a0 to 3 mHa/a0. None of these values meet the requirements for accuracy.">
            <a:extLst>
              <a:ext uri="{FF2B5EF4-FFF2-40B4-BE49-F238E27FC236}">
                <a16:creationId xmlns:a16="http://schemas.microsoft.com/office/drawing/2014/main" id="{43B7843B-DCE6-4B5A-95BD-58E26BFE3112}"/>
              </a:ext>
            </a:extLst>
          </p:cNvPr>
          <p:cNvPicPr>
            <a:picLocks noChangeAspect="1"/>
          </p:cNvPicPr>
          <p:nvPr/>
        </p:nvPicPr>
        <p:blipFill rotWithShape="1">
          <a:blip r:embed="rId3"/>
          <a:srcRect l="2783" t="3493" r="1" b="6550"/>
          <a:stretch/>
        </p:blipFill>
        <p:spPr>
          <a:xfrm>
            <a:off x="4887635" y="1116105"/>
            <a:ext cx="4146549" cy="2877671"/>
          </a:xfrm>
          <a:prstGeom prst="rect">
            <a:avLst/>
          </a:prstGeom>
        </p:spPr>
      </p:pic>
      <p:sp>
        <p:nvSpPr>
          <p:cNvPr id="19" name="TextBox 18">
            <a:extLst>
              <a:ext uri="{FF2B5EF4-FFF2-40B4-BE49-F238E27FC236}">
                <a16:creationId xmlns:a16="http://schemas.microsoft.com/office/drawing/2014/main" id="{A1AC4B35-85DC-4EC5-9FC8-B039EAF8E662}"/>
              </a:ext>
            </a:extLst>
          </p:cNvPr>
          <p:cNvSpPr txBox="1"/>
          <p:nvPr/>
        </p:nvSpPr>
        <p:spPr>
          <a:xfrm>
            <a:off x="2420469" y="4229100"/>
            <a:ext cx="4840943" cy="369332"/>
          </a:xfrm>
          <a:prstGeom prst="rect">
            <a:avLst/>
          </a:prstGeom>
          <a:noFill/>
        </p:spPr>
        <p:txBody>
          <a:bodyPr wrap="square" lIns="0" tIns="0" rIns="0" bIns="0" rtlCol="0">
            <a:spAutoFit/>
          </a:bodyPr>
          <a:lstStyle/>
          <a:p>
            <a:r>
              <a:rPr lang="en-US" sz="1200" dirty="0"/>
              <a:t>Fedorov, D.A. </a:t>
            </a:r>
            <a:r>
              <a:rPr lang="en-US" sz="1200" i="1" dirty="0"/>
              <a:t>et al</a:t>
            </a:r>
            <a:r>
              <a:rPr lang="en-US" sz="1200" dirty="0"/>
              <a:t>. </a:t>
            </a:r>
            <a:r>
              <a:rPr lang="en-US" sz="1200" i="1" dirty="0"/>
              <a:t>Ab initio </a:t>
            </a:r>
            <a:r>
              <a:rPr lang="en-US" sz="1200" dirty="0"/>
              <a:t>molecular dynamics on quantum computers </a:t>
            </a:r>
            <a:r>
              <a:rPr lang="en-US" sz="1200" i="1" dirty="0"/>
              <a:t>J. Chem. Phys</a:t>
            </a:r>
            <a:r>
              <a:rPr lang="en-US" sz="1200" dirty="0"/>
              <a:t> (2021) 154, 164103 doi:10.1063/5.0046930</a:t>
            </a:r>
          </a:p>
        </p:txBody>
      </p:sp>
    </p:spTree>
    <p:extLst>
      <p:ext uri="{BB962C8B-B14F-4D97-AF65-F5344CB8AC3E}">
        <p14:creationId xmlns:p14="http://schemas.microsoft.com/office/powerpoint/2010/main" val="2891771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5457E4F-4663-4DA3-88AD-D37831A7368A}"/>
              </a:ext>
            </a:extLst>
          </p:cNvPr>
          <p:cNvSpPr>
            <a:spLocks noGrp="1"/>
          </p:cNvSpPr>
          <p:nvPr>
            <p:ph type="sldNum" sz="quarter" idx="12"/>
          </p:nvPr>
        </p:nvSpPr>
        <p:spPr/>
        <p:txBody>
          <a:bodyPr/>
          <a:lstStyle/>
          <a:p>
            <a:fld id="{143B55C4-4F5A-416B-997D-6CE47EB0A945}" type="slidenum">
              <a:rPr lang="en-GB" noProof="0" smtClean="0"/>
              <a:t>14</a:t>
            </a:fld>
            <a:endParaRPr lang="en-GB" noProof="0" dirty="0"/>
          </a:p>
        </p:txBody>
      </p:sp>
      <p:sp>
        <p:nvSpPr>
          <p:cNvPr id="5" name="Title 4">
            <a:extLst>
              <a:ext uri="{FF2B5EF4-FFF2-40B4-BE49-F238E27FC236}">
                <a16:creationId xmlns:a16="http://schemas.microsoft.com/office/drawing/2014/main" id="{7E3CAB37-1229-479C-81D0-227EEB5B502E}"/>
              </a:ext>
            </a:extLst>
          </p:cNvPr>
          <p:cNvSpPr>
            <a:spLocks noGrp="1"/>
          </p:cNvSpPr>
          <p:nvPr>
            <p:ph type="title"/>
          </p:nvPr>
        </p:nvSpPr>
        <p:spPr/>
        <p:txBody>
          <a:bodyPr/>
          <a:lstStyle/>
          <a:p>
            <a:r>
              <a:rPr lang="en-US" dirty="0"/>
              <a:t>Numerical differentiation in a noisy setting</a:t>
            </a:r>
          </a:p>
        </p:txBody>
      </p:sp>
      <p:pic>
        <p:nvPicPr>
          <p:cNvPr id="21" name="Picture 20" descr="Graph of the phase space of H2 during one cycle of MD simulation. There are curves for perfect state vector simulation and for 1-qubit and 2-qubit execution on a quantum device. The 1-qubit result is very close to the perfect number while the 2-qubit simulation loses a lot of energy and has a smaller phase space ellipse.">
            <a:extLst>
              <a:ext uri="{FF2B5EF4-FFF2-40B4-BE49-F238E27FC236}">
                <a16:creationId xmlns:a16="http://schemas.microsoft.com/office/drawing/2014/main" id="{9C429883-9FEB-4F27-B2D8-C5ACA1902DE1}"/>
              </a:ext>
            </a:extLst>
          </p:cNvPr>
          <p:cNvPicPr>
            <a:picLocks noChangeAspect="1"/>
          </p:cNvPicPr>
          <p:nvPr/>
        </p:nvPicPr>
        <p:blipFill rotWithShape="1">
          <a:blip r:embed="rId2"/>
          <a:srcRect b="66707"/>
          <a:stretch/>
        </p:blipFill>
        <p:spPr>
          <a:xfrm>
            <a:off x="456719" y="1136277"/>
            <a:ext cx="3606707" cy="2669241"/>
          </a:xfrm>
          <a:prstGeom prst="rect">
            <a:avLst/>
          </a:prstGeom>
        </p:spPr>
      </p:pic>
      <p:pic>
        <p:nvPicPr>
          <p:cNvPr id="23" name="Picture 22" descr="Graph showing the evolution of the total energy in the MD simulation of H2. It shows the perfect line that does not violate energy conservation and two noisy lines for 1-qubit and 2-qubit simulation. The 1-qubit numbers have an error between -5 mHa and 5mHa while the 2-qubit error ranges from -12 mHa to 1 mHa.">
            <a:extLst>
              <a:ext uri="{FF2B5EF4-FFF2-40B4-BE49-F238E27FC236}">
                <a16:creationId xmlns:a16="http://schemas.microsoft.com/office/drawing/2014/main" id="{78EFF304-3C1D-4E3E-9C34-72EE4A6126B3}"/>
              </a:ext>
            </a:extLst>
          </p:cNvPr>
          <p:cNvPicPr>
            <a:picLocks noChangeAspect="1"/>
          </p:cNvPicPr>
          <p:nvPr/>
        </p:nvPicPr>
        <p:blipFill rotWithShape="1">
          <a:blip r:embed="rId2"/>
          <a:srcRect t="33445" b="33174"/>
          <a:stretch/>
        </p:blipFill>
        <p:spPr>
          <a:xfrm>
            <a:off x="4811151" y="1237129"/>
            <a:ext cx="3493887" cy="2592578"/>
          </a:xfrm>
          <a:prstGeom prst="rect">
            <a:avLst/>
          </a:prstGeom>
        </p:spPr>
      </p:pic>
      <p:sp>
        <p:nvSpPr>
          <p:cNvPr id="25" name="TextBox 24">
            <a:extLst>
              <a:ext uri="{FF2B5EF4-FFF2-40B4-BE49-F238E27FC236}">
                <a16:creationId xmlns:a16="http://schemas.microsoft.com/office/drawing/2014/main" id="{C0ACF7D3-1BC9-4A36-8D64-731BC4392AAC}"/>
              </a:ext>
            </a:extLst>
          </p:cNvPr>
          <p:cNvSpPr txBox="1"/>
          <p:nvPr/>
        </p:nvSpPr>
        <p:spPr>
          <a:xfrm>
            <a:off x="2420469" y="4229100"/>
            <a:ext cx="4840943" cy="369332"/>
          </a:xfrm>
          <a:prstGeom prst="rect">
            <a:avLst/>
          </a:prstGeom>
          <a:noFill/>
        </p:spPr>
        <p:txBody>
          <a:bodyPr wrap="square" lIns="0" tIns="0" rIns="0" bIns="0" rtlCol="0">
            <a:spAutoFit/>
          </a:bodyPr>
          <a:lstStyle/>
          <a:p>
            <a:r>
              <a:rPr lang="en-US" sz="1200" dirty="0"/>
              <a:t>Fedorov, D.A. </a:t>
            </a:r>
            <a:r>
              <a:rPr lang="en-US" sz="1200" i="1" dirty="0"/>
              <a:t>et al</a:t>
            </a:r>
            <a:r>
              <a:rPr lang="en-US" sz="1200" dirty="0"/>
              <a:t>. </a:t>
            </a:r>
            <a:r>
              <a:rPr lang="en-US" sz="1200" i="1" dirty="0"/>
              <a:t>Ab initio </a:t>
            </a:r>
            <a:r>
              <a:rPr lang="en-US" sz="1200" dirty="0"/>
              <a:t>molecular dynamics on quantum computers </a:t>
            </a:r>
            <a:r>
              <a:rPr lang="en-US" sz="1200" i="1" dirty="0"/>
              <a:t>J. Chem. Phys</a:t>
            </a:r>
            <a:r>
              <a:rPr lang="en-US" sz="1200" dirty="0"/>
              <a:t> (2021) 154, 164103 doi:10.1063/5.0046930</a:t>
            </a:r>
          </a:p>
        </p:txBody>
      </p:sp>
      <p:sp>
        <p:nvSpPr>
          <p:cNvPr id="26" name="TextBox 25">
            <a:extLst>
              <a:ext uri="{FF2B5EF4-FFF2-40B4-BE49-F238E27FC236}">
                <a16:creationId xmlns:a16="http://schemas.microsoft.com/office/drawing/2014/main" id="{14EBB7A9-74FA-4527-A533-9E843E716C7F}"/>
              </a:ext>
            </a:extLst>
          </p:cNvPr>
          <p:cNvSpPr txBox="1"/>
          <p:nvPr/>
        </p:nvSpPr>
        <p:spPr>
          <a:xfrm>
            <a:off x="3548153" y="2050325"/>
            <a:ext cx="3713259" cy="307777"/>
          </a:xfrm>
          <a:prstGeom prst="rect">
            <a:avLst/>
          </a:prstGeom>
          <a:noFill/>
        </p:spPr>
        <p:txBody>
          <a:bodyPr wrap="square" lIns="0" tIns="0" rIns="0" bIns="0" rtlCol="0">
            <a:spAutoFit/>
          </a:bodyPr>
          <a:lstStyle/>
          <a:p>
            <a:r>
              <a:rPr lang="en-US" sz="2000" dirty="0">
                <a:solidFill>
                  <a:srgbClr val="003366"/>
                </a:solidFill>
                <a:highlight>
                  <a:srgbClr val="99CCFF"/>
                </a:highlight>
              </a:rPr>
              <a:t>Not very scalable…</a:t>
            </a:r>
          </a:p>
        </p:txBody>
      </p:sp>
    </p:spTree>
    <p:extLst>
      <p:ext uri="{BB962C8B-B14F-4D97-AF65-F5344CB8AC3E}">
        <p14:creationId xmlns:p14="http://schemas.microsoft.com/office/powerpoint/2010/main" val="3544596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327A5967-0C85-4F18-B149-98DE501CE0AC}"/>
                  </a:ext>
                </a:extLst>
              </p:cNvPr>
              <p:cNvSpPr>
                <a:spLocks noGrp="1"/>
              </p:cNvSpPr>
              <p:nvPr>
                <p:ph idx="1"/>
              </p:nvPr>
            </p:nvSpPr>
            <p:spPr/>
            <p:txBody>
              <a:bodyPr/>
              <a:lstStyle/>
              <a:p>
                <a:pPr marL="0" indent="0">
                  <a:buNone/>
                </a:pPr>
                <a:r>
                  <a:rPr lang="en-US" sz="1800" dirty="0"/>
                  <a:t>We can apply a centered difference formula we can use the definition of the derivative</a:t>
                </a:r>
              </a:p>
              <a:p>
                <a:pPr marL="0" indent="0">
                  <a:buNone/>
                </a:pPr>
                <a14:m>
                  <m:oMathPara xmlns:m="http://schemas.openxmlformats.org/officeDocument/2006/math">
                    <m:oMathParaPr>
                      <m:jc m:val="centerGroup"/>
                    </m:oMathParaPr>
                    <m:oMath xmlns:m="http://schemas.openxmlformats.org/officeDocument/2006/math">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r>
                            <a:rPr lang="en-US" sz="1600" i="1">
                              <a:latin typeface="Cambria Math" panose="02040503050406030204" pitchFamily="18" charset="0"/>
                            </a:rPr>
                            <m:t>𝐸</m:t>
                          </m:r>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r>
                        <m:rPr>
                          <m:aln/>
                        </m:rPr>
                        <a:rPr lang="en-US" sz="1600" i="1" smtClean="0">
                          <a:latin typeface="Cambria Math" panose="02040503050406030204" pitchFamily="18" charset="0"/>
                          <a:ea typeface="Cambria Math" panose="02040503050406030204" pitchFamily="18" charset="0"/>
                        </a:rPr>
                        <m:t>≅</m:t>
                      </m:r>
                      <m:f>
                        <m:fPr>
                          <m:ctrlPr>
                            <a:rPr lang="en-US" sz="1600" i="1">
                              <a:latin typeface="Cambria Math" panose="02040503050406030204" pitchFamily="18" charset="0"/>
                            </a:rPr>
                          </m:ctrlPr>
                        </m:fPr>
                        <m:num>
                          <m:d>
                            <m:dPr>
                              <m:begChr m:val="⟨"/>
                              <m:endChr m:val="⟩"/>
                              <m:ctrlPr>
                                <a:rPr lang="en-US" sz="1600" i="1">
                                  <a:latin typeface="Cambria Math" panose="02040503050406030204" pitchFamily="18" charset="0"/>
                                </a:rPr>
                              </m:ctrlPr>
                            </m:dPr>
                            <m:e>
                              <m:r>
                                <m:rPr>
                                  <m:sty m:val="p"/>
                                </m:rPr>
                                <a:rPr lang="en-US" sz="1600">
                                  <a:latin typeface="Cambria Math" panose="02040503050406030204" pitchFamily="18" charset="0"/>
                                </a:rPr>
                                <m:t>Ψ</m:t>
                              </m:r>
                              <m:d>
                                <m:dPr>
                                  <m:ctrlPr>
                                    <a:rPr lang="en-US" sz="1600" i="1">
                                      <a:latin typeface="Cambria Math" panose="02040503050406030204" pitchFamily="18" charset="0"/>
                                    </a:rPr>
                                  </m:ctrlPr>
                                </m:dPr>
                                <m:e>
                                  <m:r>
                                    <a:rPr lang="en-US" sz="1600" b="1" i="1">
                                      <a:latin typeface="Cambria Math" panose="02040503050406030204" pitchFamily="18" charset="0"/>
                                    </a:rPr>
                                    <m:t>𝑹</m:t>
                                  </m:r>
                                  <m:r>
                                    <a:rPr lang="en-US" sz="1600" i="1">
                                      <a:latin typeface="Cambria Math" panose="02040503050406030204" pitchFamily="18" charset="0"/>
                                    </a:rPr>
                                    <m:t>+</m:t>
                                  </m:r>
                                  <m:r>
                                    <a:rPr lang="en-US" sz="1600" b="1" i="1">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e>
                              </m:d>
                            </m:e>
                            <m:e>
                              <m:r>
                                <m:rPr>
                                  <m:sty m:val="p"/>
                                </m:rPr>
                                <a:rPr lang="en-US" sz="1600">
                                  <a:latin typeface="Cambria Math" panose="02040503050406030204" pitchFamily="18" charset="0"/>
                                </a:rPr>
                                <m:t>H</m:t>
                              </m:r>
                              <m:d>
                                <m:dPr>
                                  <m:ctrlPr>
                                    <a:rPr lang="en-US" sz="1600" i="1">
                                      <a:latin typeface="Cambria Math" panose="02040503050406030204" pitchFamily="18" charset="0"/>
                                    </a:rPr>
                                  </m:ctrlPr>
                                </m:dPr>
                                <m:e>
                                  <m:r>
                                    <a:rPr lang="en-US" sz="1600" b="1" i="1">
                                      <a:latin typeface="Cambria Math" panose="02040503050406030204" pitchFamily="18" charset="0"/>
                                    </a:rPr>
                                    <m:t>𝑹</m:t>
                                  </m:r>
                                  <m:r>
                                    <a:rPr lang="en-US" sz="1600" i="1">
                                      <a:latin typeface="Cambria Math" panose="02040503050406030204" pitchFamily="18" charset="0"/>
                                    </a:rPr>
                                    <m:t>+</m:t>
                                  </m:r>
                                  <m:r>
                                    <a:rPr lang="en-US" sz="1600" b="1" i="1" smtClean="0">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e>
                              </m:d>
                            </m:e>
                            <m:e>
                              <m:r>
                                <m:rPr>
                                  <m:sty m:val="p"/>
                                </m:rPr>
                                <a:rPr lang="en-US" sz="1600">
                                  <a:latin typeface="Cambria Math" panose="02040503050406030204" pitchFamily="18" charset="0"/>
                                </a:rPr>
                                <m:t>Ψ</m:t>
                              </m:r>
                              <m:d>
                                <m:dPr>
                                  <m:ctrlPr>
                                    <a:rPr lang="en-US" sz="1600" i="1">
                                      <a:latin typeface="Cambria Math" panose="02040503050406030204" pitchFamily="18" charset="0"/>
                                    </a:rPr>
                                  </m:ctrlPr>
                                </m:dPr>
                                <m:e>
                                  <m:r>
                                    <a:rPr lang="en-US" sz="1600" b="1" i="1">
                                      <a:latin typeface="Cambria Math" panose="02040503050406030204" pitchFamily="18" charset="0"/>
                                    </a:rPr>
                                    <m:t>𝑹</m:t>
                                  </m:r>
                                  <m:r>
                                    <a:rPr lang="en-US" sz="1600" i="1">
                                      <a:latin typeface="Cambria Math" panose="02040503050406030204" pitchFamily="18" charset="0"/>
                                    </a:rPr>
                                    <m:t>+</m:t>
                                  </m:r>
                                  <m:r>
                                    <a:rPr lang="en-US" sz="1600" b="1" i="1">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e>
                              </m:d>
                            </m:e>
                          </m:d>
                          <m:r>
                            <a:rPr lang="en-US" sz="1600" i="1">
                              <a:latin typeface="Cambria Math" panose="02040503050406030204" pitchFamily="18" charset="0"/>
                            </a:rPr>
                            <m:t>−</m:t>
                          </m:r>
                          <m:d>
                            <m:dPr>
                              <m:begChr m:val="⟨"/>
                              <m:endChr m:val="⟩"/>
                              <m:ctrlPr>
                                <a:rPr lang="en-US" sz="1600" i="1">
                                  <a:latin typeface="Cambria Math" panose="02040503050406030204" pitchFamily="18" charset="0"/>
                                </a:rPr>
                              </m:ctrlPr>
                            </m:dPr>
                            <m:e>
                              <m:r>
                                <m:rPr>
                                  <m:sty m:val="p"/>
                                </m:rPr>
                                <a:rPr lang="en-US" sz="1600">
                                  <a:latin typeface="Cambria Math" panose="02040503050406030204" pitchFamily="18" charset="0"/>
                                </a:rPr>
                                <m:t>Ψ</m:t>
                              </m:r>
                              <m:d>
                                <m:dPr>
                                  <m:ctrlPr>
                                    <a:rPr lang="en-US" sz="1600" i="1">
                                      <a:latin typeface="Cambria Math" panose="02040503050406030204" pitchFamily="18" charset="0"/>
                                    </a:rPr>
                                  </m:ctrlPr>
                                </m:dPr>
                                <m:e>
                                  <m:r>
                                    <a:rPr lang="en-US" sz="1600" b="1" i="1">
                                      <a:latin typeface="Cambria Math" panose="02040503050406030204" pitchFamily="18" charset="0"/>
                                    </a:rPr>
                                    <m:t>𝑹</m:t>
                                  </m:r>
                                  <m:r>
                                    <a:rPr lang="en-US" sz="1600">
                                      <a:latin typeface="Cambria Math" panose="02040503050406030204" pitchFamily="18" charset="0"/>
                                    </a:rPr>
                                    <m:t>−</m:t>
                                  </m:r>
                                  <m:r>
                                    <a:rPr lang="en-US" sz="1600" b="1" i="1">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e>
                              </m:d>
                            </m:e>
                            <m:e>
                              <m:r>
                                <m:rPr>
                                  <m:sty m:val="p"/>
                                </m:rPr>
                                <a:rPr lang="en-US" sz="1600" smtClean="0">
                                  <a:latin typeface="Cambria Math" panose="02040503050406030204" pitchFamily="18" charset="0"/>
                                </a:rPr>
                                <m:t>H</m:t>
                              </m:r>
                              <m:d>
                                <m:dPr>
                                  <m:ctrlPr>
                                    <a:rPr lang="en-US" sz="1600" i="1">
                                      <a:latin typeface="Cambria Math" panose="02040503050406030204" pitchFamily="18" charset="0"/>
                                    </a:rPr>
                                  </m:ctrlPr>
                                </m:dPr>
                                <m:e>
                                  <m:r>
                                    <a:rPr lang="en-US" sz="1600" b="1" i="1">
                                      <a:latin typeface="Cambria Math" panose="02040503050406030204" pitchFamily="18" charset="0"/>
                                    </a:rPr>
                                    <m:t>𝑹</m:t>
                                  </m:r>
                                  <m:r>
                                    <a:rPr lang="en-US" sz="1600">
                                      <a:latin typeface="Cambria Math" panose="02040503050406030204" pitchFamily="18" charset="0"/>
                                    </a:rPr>
                                    <m:t>−</m:t>
                                  </m:r>
                                  <m:r>
                                    <a:rPr lang="en-US" sz="1600" b="1" i="1">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e>
                              </m:d>
                            </m:e>
                            <m:e>
                              <m:r>
                                <m:rPr>
                                  <m:sty m:val="p"/>
                                </m:rPr>
                                <a:rPr lang="en-US" sz="1600">
                                  <a:latin typeface="Cambria Math" panose="02040503050406030204" pitchFamily="18" charset="0"/>
                                </a:rPr>
                                <m:t>Ψ</m:t>
                              </m:r>
                              <m:d>
                                <m:dPr>
                                  <m:ctrlPr>
                                    <a:rPr lang="en-US" sz="1600" i="1">
                                      <a:latin typeface="Cambria Math" panose="02040503050406030204" pitchFamily="18" charset="0"/>
                                    </a:rPr>
                                  </m:ctrlPr>
                                </m:dPr>
                                <m:e>
                                  <m:r>
                                    <a:rPr lang="en-US" sz="1600" b="1" i="1">
                                      <a:latin typeface="Cambria Math" panose="02040503050406030204" pitchFamily="18" charset="0"/>
                                    </a:rPr>
                                    <m:t>𝑹</m:t>
                                  </m:r>
                                  <m:r>
                                    <a:rPr lang="en-US" sz="1600" i="1">
                                      <a:latin typeface="Cambria Math" panose="02040503050406030204" pitchFamily="18" charset="0"/>
                                    </a:rPr>
                                    <m:t>−</m:t>
                                  </m:r>
                                  <m:r>
                                    <a:rPr lang="en-US" sz="1600" b="1" i="1">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e>
                              </m:d>
                            </m:e>
                          </m:d>
                        </m:num>
                        <m:den>
                          <m:r>
                            <a:rPr lang="en-US" sz="1600" i="1">
                              <a:latin typeface="Cambria Math" panose="02040503050406030204" pitchFamily="18" charset="0"/>
                            </a:rPr>
                            <m:t>2</m:t>
                          </m:r>
                          <m:d>
                            <m:dPr>
                              <m:begChr m:val="|"/>
                              <m:endChr m:val="|"/>
                              <m:ctrlPr>
                                <a:rPr lang="en-US" sz="1600" i="1" smtClean="0">
                                  <a:latin typeface="Cambria Math" panose="02040503050406030204" pitchFamily="18" charset="0"/>
                                </a:rPr>
                              </m:ctrlPr>
                            </m:dPr>
                            <m:e>
                              <m:r>
                                <a:rPr lang="en-US" sz="1600" b="1" i="1">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e>
                          </m:d>
                        </m:den>
                      </m:f>
                    </m:oMath>
                    <m:oMath xmlns:m="http://schemas.openxmlformats.org/officeDocument/2006/math">
                      <m:r>
                        <m:rPr>
                          <m:aln/>
                        </m:rPr>
                        <a:rPr lang="en-US" sz="1600" b="1" i="1" smtClean="0">
                          <a:latin typeface="Cambria Math" panose="02040503050406030204" pitchFamily="18" charset="0"/>
                          <a:ea typeface="Cambria Math" panose="02040503050406030204" pitchFamily="18" charset="0"/>
                        </a:rPr>
                        <m:t>≅</m:t>
                      </m:r>
                      <m:d>
                        <m:dPr>
                          <m:begChr m:val="⟨"/>
                          <m:endChr m:val="⟩"/>
                          <m:ctrlPr>
                            <a:rPr lang="en-US" sz="1600" b="1" i="1" smtClean="0">
                              <a:latin typeface="Cambria Math" panose="02040503050406030204" pitchFamily="18" charset="0"/>
                              <a:ea typeface="Cambria Math" panose="02040503050406030204" pitchFamily="18" charset="0"/>
                            </a:rPr>
                          </m:ctrlPr>
                        </m:dPr>
                        <m:e>
                          <m:r>
                            <m:rPr>
                              <m:sty m:val="p"/>
                            </m:rPr>
                            <a:rPr lang="en-US" sz="1600">
                              <a:latin typeface="Cambria Math" panose="02040503050406030204" pitchFamily="18" charset="0"/>
                            </a:rPr>
                            <m:t>Ψ</m:t>
                          </m:r>
                          <m:d>
                            <m:dPr>
                              <m:ctrlPr>
                                <a:rPr lang="en-US" sz="1600" i="1">
                                  <a:latin typeface="Cambria Math" panose="02040503050406030204" pitchFamily="18" charset="0"/>
                                </a:rPr>
                              </m:ctrlPr>
                            </m:dPr>
                            <m:e>
                              <m:r>
                                <a:rPr lang="en-US" sz="1600" b="1" i="1">
                                  <a:latin typeface="Cambria Math" panose="02040503050406030204" pitchFamily="18" charset="0"/>
                                </a:rPr>
                                <m:t>𝑹</m:t>
                              </m:r>
                            </m:e>
                          </m:d>
                        </m:e>
                        <m:e>
                          <m:f>
                            <m:fPr>
                              <m:ctrlPr>
                                <a:rPr lang="en-US" sz="1600" b="1" i="1" smtClean="0">
                                  <a:latin typeface="Cambria Math" panose="02040503050406030204" pitchFamily="18" charset="0"/>
                                  <a:ea typeface="Cambria Math" panose="02040503050406030204" pitchFamily="18" charset="0"/>
                                </a:rPr>
                              </m:ctrlPr>
                            </m:fPr>
                            <m:num>
                              <m:r>
                                <m:rPr>
                                  <m:sty m:val="p"/>
                                </m:rPr>
                                <a:rPr lang="en-US" sz="1600">
                                  <a:latin typeface="Cambria Math" panose="02040503050406030204" pitchFamily="18" charset="0"/>
                                </a:rPr>
                                <m:t>H</m:t>
                              </m:r>
                              <m:d>
                                <m:dPr>
                                  <m:ctrlPr>
                                    <a:rPr lang="en-US" sz="1600" i="1">
                                      <a:latin typeface="Cambria Math" panose="02040503050406030204" pitchFamily="18" charset="0"/>
                                    </a:rPr>
                                  </m:ctrlPr>
                                </m:dPr>
                                <m:e>
                                  <m:r>
                                    <a:rPr lang="en-US" sz="1600" b="1" i="1">
                                      <a:latin typeface="Cambria Math" panose="02040503050406030204" pitchFamily="18" charset="0"/>
                                    </a:rPr>
                                    <m:t>𝑹</m:t>
                                  </m:r>
                                  <m:r>
                                    <a:rPr lang="en-US" sz="1600" i="1">
                                      <a:latin typeface="Cambria Math" panose="02040503050406030204" pitchFamily="18" charset="0"/>
                                    </a:rPr>
                                    <m:t>+</m:t>
                                  </m:r>
                                  <m:r>
                                    <a:rPr lang="en-US" sz="1600" b="1" i="1">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e>
                              </m:d>
                              <m:r>
                                <a:rPr lang="en-US" sz="1600" b="1" i="1" smtClean="0">
                                  <a:latin typeface="Cambria Math" panose="02040503050406030204" pitchFamily="18" charset="0"/>
                                </a:rPr>
                                <m:t>−</m:t>
                              </m:r>
                              <m:r>
                                <m:rPr>
                                  <m:sty m:val="p"/>
                                </m:rPr>
                                <a:rPr lang="en-US" sz="1600">
                                  <a:latin typeface="Cambria Math" panose="02040503050406030204" pitchFamily="18" charset="0"/>
                                </a:rPr>
                                <m:t>H</m:t>
                              </m:r>
                              <m:d>
                                <m:dPr>
                                  <m:ctrlPr>
                                    <a:rPr lang="en-US" sz="1600" i="1">
                                      <a:latin typeface="Cambria Math" panose="02040503050406030204" pitchFamily="18" charset="0"/>
                                    </a:rPr>
                                  </m:ctrlPr>
                                </m:dPr>
                                <m:e>
                                  <m:r>
                                    <a:rPr lang="en-US" sz="1600" b="1" i="1">
                                      <a:latin typeface="Cambria Math" panose="02040503050406030204" pitchFamily="18" charset="0"/>
                                    </a:rPr>
                                    <m:t>𝑹</m:t>
                                  </m:r>
                                  <m:r>
                                    <a:rPr lang="en-US" sz="1600">
                                      <a:latin typeface="Cambria Math" panose="02040503050406030204" pitchFamily="18" charset="0"/>
                                    </a:rPr>
                                    <m:t>−</m:t>
                                  </m:r>
                                  <m:r>
                                    <a:rPr lang="en-US" sz="1600" b="1" i="1">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e>
                              </m:d>
                            </m:num>
                            <m:den>
                              <m:r>
                                <a:rPr lang="en-US" sz="1600" i="1">
                                  <a:latin typeface="Cambria Math" panose="02040503050406030204" pitchFamily="18" charset="0"/>
                                </a:rPr>
                                <m:t>2</m:t>
                              </m:r>
                              <m:d>
                                <m:dPr>
                                  <m:begChr m:val="|"/>
                                  <m:endChr m:val="|"/>
                                  <m:ctrlPr>
                                    <a:rPr lang="en-US" sz="1600" i="1">
                                      <a:latin typeface="Cambria Math" panose="02040503050406030204" pitchFamily="18" charset="0"/>
                                    </a:rPr>
                                  </m:ctrlPr>
                                </m:dPr>
                                <m:e>
                                  <m:r>
                                    <a:rPr lang="en-US" sz="1600" b="1" i="1">
                                      <a:latin typeface="Cambria Math" panose="02040503050406030204" pitchFamily="18" charset="0"/>
                                    </a:rPr>
                                    <m:t>𝜹</m:t>
                                  </m:r>
                                  <m:sSub>
                                    <m:sSubPr>
                                      <m:ctrlPr>
                                        <a:rPr lang="en-US" sz="1600" b="1" i="1">
                                          <a:latin typeface="Cambria Math" panose="02040503050406030204" pitchFamily="18" charset="0"/>
                                        </a:rPr>
                                      </m:ctrlPr>
                                    </m:sSubPr>
                                    <m:e>
                                      <m:r>
                                        <a:rPr lang="en-US" sz="1600" b="1" i="1">
                                          <a:latin typeface="Cambria Math" panose="02040503050406030204" pitchFamily="18" charset="0"/>
                                        </a:rPr>
                                        <m:t>𝑹</m:t>
                                      </m:r>
                                    </m:e>
                                    <m:sub>
                                      <m:r>
                                        <a:rPr lang="en-US" sz="1600" b="1" i="1">
                                          <a:latin typeface="Cambria Math" panose="02040503050406030204" pitchFamily="18" charset="0"/>
                                        </a:rPr>
                                        <m:t>𝑰</m:t>
                                      </m:r>
                                    </m:sub>
                                  </m:sSub>
                                </m:e>
                              </m:d>
                            </m:den>
                          </m:f>
                        </m:e>
                        <m:e>
                          <m:r>
                            <m:rPr>
                              <m:sty m:val="p"/>
                            </m:rPr>
                            <a:rPr lang="en-US" sz="1600">
                              <a:latin typeface="Cambria Math" panose="02040503050406030204" pitchFamily="18" charset="0"/>
                            </a:rPr>
                            <m:t>Ψ</m:t>
                          </m:r>
                          <m:d>
                            <m:dPr>
                              <m:ctrlPr>
                                <a:rPr lang="en-US" sz="1600" i="1">
                                  <a:latin typeface="Cambria Math" panose="02040503050406030204" pitchFamily="18" charset="0"/>
                                </a:rPr>
                              </m:ctrlPr>
                            </m:dPr>
                            <m:e>
                              <m:r>
                                <a:rPr lang="en-US" sz="1600" b="1" i="1">
                                  <a:latin typeface="Cambria Math" panose="02040503050406030204" pitchFamily="18" charset="0"/>
                                </a:rPr>
                                <m:t>𝑹</m:t>
                              </m:r>
                            </m:e>
                          </m:d>
                        </m:e>
                      </m:d>
                    </m:oMath>
                  </m:oMathPara>
                </a14:m>
                <a:endParaRPr lang="en-US" sz="1600" dirty="0"/>
              </a:p>
              <a:p>
                <a:pPr lvl="1"/>
                <a:r>
                  <a:rPr lang="en-US" sz="1400" dirty="0"/>
                  <a:t>No new ground state needs to be found.</a:t>
                </a:r>
              </a:p>
              <a:p>
                <a:pPr lvl="1"/>
                <a:r>
                  <a:rPr lang="en-US" sz="1400" dirty="0"/>
                  <a:t>Measurements for the ground state 1- and 2-particle density matrix can be reused.</a:t>
                </a:r>
              </a:p>
              <a:p>
                <a:pPr marL="0" indent="0">
                  <a:buNone/>
                </a:pPr>
                <a:r>
                  <a:rPr lang="en-US" sz="1800" dirty="0"/>
                  <a:t>The derivative can be executed analytically</a:t>
                </a:r>
              </a:p>
              <a:p>
                <a:pPr marL="0" indent="0">
                  <a:buNone/>
                </a:pPr>
                <a14:m>
                  <m:oMathPara xmlns:m="http://schemas.openxmlformats.org/officeDocument/2006/math">
                    <m:oMathParaPr>
                      <m:jc m:val="centerGroup"/>
                    </m:oMathParaPr>
                    <m:oMath xmlns:m="http://schemas.openxmlformats.org/officeDocument/2006/math">
                      <m:f>
                        <m:fPr>
                          <m:ctrlPr>
                            <a:rPr lang="en-US" sz="1800" i="1">
                              <a:latin typeface="Cambria Math" panose="02040503050406030204" pitchFamily="18" charset="0"/>
                            </a:rPr>
                          </m:ctrlPr>
                        </m:fPr>
                        <m:num>
                          <m:r>
                            <m:rPr>
                              <m:sty m:val="p"/>
                            </m:rPr>
                            <a:rPr lang="en-US" sz="1800">
                              <a:latin typeface="Cambria Math" panose="02040503050406030204" pitchFamily="18" charset="0"/>
                            </a:rPr>
                            <m:t>d</m:t>
                          </m:r>
                          <m:r>
                            <a:rPr lang="en-US" sz="1800" i="1">
                              <a:latin typeface="Cambria Math" panose="02040503050406030204" pitchFamily="18" charset="0"/>
                            </a:rPr>
                            <m:t>𝐸</m:t>
                          </m:r>
                        </m:num>
                        <m:den>
                          <m:r>
                            <m:rPr>
                              <m:sty m:val="p"/>
                            </m:rPr>
                            <a:rPr lang="en-US" sz="1800">
                              <a:latin typeface="Cambria Math" panose="02040503050406030204" pitchFamily="18" charset="0"/>
                            </a:rPr>
                            <m:t>d</m:t>
                          </m:r>
                          <m:sSub>
                            <m:sSubPr>
                              <m:ctrlPr>
                                <a:rPr lang="en-US" sz="1800" i="1">
                                  <a:latin typeface="Cambria Math" panose="02040503050406030204" pitchFamily="18" charset="0"/>
                                </a:rPr>
                              </m:ctrlPr>
                            </m:sSubPr>
                            <m:e>
                              <m:r>
                                <a:rPr lang="en-US" sz="1800" i="1">
                                  <a:latin typeface="Cambria Math" panose="02040503050406030204" pitchFamily="18" charset="0"/>
                                </a:rPr>
                                <m:t>𝑅</m:t>
                              </m:r>
                            </m:e>
                            <m:sub>
                              <m:r>
                                <a:rPr lang="en-US" sz="1800" i="1">
                                  <a:latin typeface="Cambria Math" panose="02040503050406030204" pitchFamily="18" charset="0"/>
                                </a:rPr>
                                <m:t>𝐼</m:t>
                              </m:r>
                            </m:sub>
                          </m:sSub>
                        </m:den>
                      </m:f>
                      <m:r>
                        <m:rPr>
                          <m:aln/>
                        </m:rPr>
                        <a:rPr lang="en-US" sz="1800" b="1" i="1" smtClean="0">
                          <a:latin typeface="Cambria Math" panose="02040503050406030204" pitchFamily="18" charset="0"/>
                          <a:ea typeface="Cambria Math" panose="02040503050406030204" pitchFamily="18" charset="0"/>
                        </a:rPr>
                        <m:t>≅</m:t>
                      </m:r>
                      <m:d>
                        <m:dPr>
                          <m:begChr m:val="⟨"/>
                          <m:endChr m:val="⟩"/>
                          <m:ctrlPr>
                            <a:rPr lang="en-US" sz="1800" b="1" i="1" smtClean="0">
                              <a:latin typeface="Cambria Math" panose="02040503050406030204" pitchFamily="18" charset="0"/>
                              <a:ea typeface="Cambria Math" panose="02040503050406030204" pitchFamily="18" charset="0"/>
                            </a:rPr>
                          </m:ctrlPr>
                        </m:dPr>
                        <m:e>
                          <m:r>
                            <m:rPr>
                              <m:sty m:val="p"/>
                            </m:rPr>
                            <a:rPr lang="en-US" sz="1800">
                              <a:latin typeface="Cambria Math" panose="02040503050406030204" pitchFamily="18" charset="0"/>
                            </a:rPr>
                            <m:t>Ψ</m:t>
                          </m:r>
                          <m:d>
                            <m:dPr>
                              <m:ctrlPr>
                                <a:rPr lang="en-US" sz="1800" i="1">
                                  <a:latin typeface="Cambria Math" panose="02040503050406030204" pitchFamily="18" charset="0"/>
                                </a:rPr>
                              </m:ctrlPr>
                            </m:dPr>
                            <m:e>
                              <m:r>
                                <a:rPr lang="en-US" sz="1800" b="1" i="1">
                                  <a:latin typeface="Cambria Math" panose="02040503050406030204" pitchFamily="18" charset="0"/>
                                </a:rPr>
                                <m:t>𝑹</m:t>
                              </m:r>
                            </m:e>
                          </m:d>
                        </m:e>
                        <m:e>
                          <m:f>
                            <m:fPr>
                              <m:ctrlPr>
                                <a:rPr lang="en-US" sz="1800" b="1" i="1" smtClean="0">
                                  <a:latin typeface="Cambria Math" panose="02040503050406030204" pitchFamily="18" charset="0"/>
                                  <a:ea typeface="Cambria Math" panose="02040503050406030204" pitchFamily="18" charset="0"/>
                                </a:rPr>
                              </m:ctrlPr>
                            </m:fPr>
                            <m:num>
                              <m:r>
                                <a:rPr lang="en-US" sz="1800" b="0" i="1" smtClean="0">
                                  <a:latin typeface="Cambria Math" panose="02040503050406030204" pitchFamily="18" charset="0"/>
                                  <a:ea typeface="Cambria Math" panose="02040503050406030204" pitchFamily="18" charset="0"/>
                                </a:rPr>
                                <m:t>𝜕</m:t>
                              </m:r>
                              <m:r>
                                <m:rPr>
                                  <m:sty m:val="p"/>
                                </m:rPr>
                                <a:rPr lang="en-US" sz="1800">
                                  <a:latin typeface="Cambria Math" panose="02040503050406030204" pitchFamily="18" charset="0"/>
                                </a:rPr>
                                <m:t>H</m:t>
                              </m:r>
                            </m:num>
                            <m:den>
                              <m:r>
                                <a:rPr lang="en-US" sz="1800" b="0" i="1" smtClean="0">
                                  <a:latin typeface="Cambria Math" panose="02040503050406030204" pitchFamily="18" charset="0"/>
                                </a:rPr>
                                <m:t>𝜕</m:t>
                              </m:r>
                              <m:sSub>
                                <m:sSubPr>
                                  <m:ctrlPr>
                                    <a:rPr lang="en-US" sz="1800" i="1" smtClean="0">
                                      <a:latin typeface="Cambria Math" panose="02040503050406030204" pitchFamily="18" charset="0"/>
                                    </a:rPr>
                                  </m:ctrlPr>
                                </m:sSubPr>
                                <m:e>
                                  <m:r>
                                    <a:rPr lang="en-US" sz="1800" b="0" i="1" smtClean="0">
                                      <a:latin typeface="Cambria Math" panose="02040503050406030204" pitchFamily="18" charset="0"/>
                                    </a:rPr>
                                    <m:t>𝑅</m:t>
                                  </m:r>
                                </m:e>
                                <m:sub>
                                  <m:r>
                                    <a:rPr lang="en-US" sz="1800" b="0" i="1" smtClean="0">
                                      <a:latin typeface="Cambria Math" panose="02040503050406030204" pitchFamily="18" charset="0"/>
                                    </a:rPr>
                                    <m:t>𝐼</m:t>
                                  </m:r>
                                </m:sub>
                              </m:sSub>
                            </m:den>
                          </m:f>
                          <m:r>
                            <a:rPr lang="en-US" sz="1800" b="1" i="1" smtClean="0">
                              <a:latin typeface="Cambria Math" panose="02040503050406030204" pitchFamily="18" charset="0"/>
                            </a:rPr>
                            <m:t>(</m:t>
                          </m:r>
                          <m:r>
                            <a:rPr lang="en-US" sz="1800" b="1" i="1" smtClean="0">
                              <a:latin typeface="Cambria Math" panose="02040503050406030204" pitchFamily="18" charset="0"/>
                            </a:rPr>
                            <m:t>𝑹</m:t>
                          </m:r>
                          <m:r>
                            <a:rPr lang="en-US" sz="1800" b="1" i="1" smtClean="0">
                              <a:latin typeface="Cambria Math" panose="02040503050406030204" pitchFamily="18" charset="0"/>
                            </a:rPr>
                            <m:t>)</m:t>
                          </m:r>
                        </m:e>
                        <m:e>
                          <m:r>
                            <m:rPr>
                              <m:sty m:val="p"/>
                            </m:rPr>
                            <a:rPr lang="en-US" sz="1800">
                              <a:latin typeface="Cambria Math" panose="02040503050406030204" pitchFamily="18" charset="0"/>
                            </a:rPr>
                            <m:t>Ψ</m:t>
                          </m:r>
                          <m:d>
                            <m:dPr>
                              <m:ctrlPr>
                                <a:rPr lang="en-US" sz="1800" i="1">
                                  <a:latin typeface="Cambria Math" panose="02040503050406030204" pitchFamily="18" charset="0"/>
                                </a:rPr>
                              </m:ctrlPr>
                            </m:dPr>
                            <m:e>
                              <m:r>
                                <a:rPr lang="en-US" sz="1800" b="1" i="1">
                                  <a:latin typeface="Cambria Math" panose="02040503050406030204" pitchFamily="18" charset="0"/>
                                </a:rPr>
                                <m:t>𝑹</m:t>
                              </m:r>
                            </m:e>
                          </m:d>
                        </m:e>
                      </m:d>
                    </m:oMath>
                  </m:oMathPara>
                </a14:m>
                <a:endParaRPr lang="en-US" sz="1800" dirty="0"/>
              </a:p>
              <a:p>
                <a:pPr lvl="1"/>
                <a:r>
                  <a:rPr lang="en-US" sz="1400" dirty="0"/>
                  <a:t>Only the electron-nuclear attraction depends on </a:t>
                </a:r>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𝑅</m:t>
                        </m:r>
                      </m:e>
                      <m:sub>
                        <m:r>
                          <a:rPr lang="en-US" sz="1400" b="0" i="1" smtClean="0">
                            <a:latin typeface="Cambria Math" panose="02040503050406030204" pitchFamily="18" charset="0"/>
                          </a:rPr>
                          <m:t>𝐼</m:t>
                        </m:r>
                      </m:sub>
                    </m:sSub>
                    <m:r>
                      <a:rPr lang="en-US" sz="1400" b="0" i="1" smtClean="0">
                        <a:latin typeface="Cambria Math" panose="02040503050406030204" pitchFamily="18" charset="0"/>
                      </a:rPr>
                      <m:t>.</m:t>
                    </m:r>
                  </m:oMath>
                </a14:m>
                <a:endParaRPr lang="en-US" sz="1400" dirty="0"/>
              </a:p>
              <a:p>
                <a:pPr lvl="1"/>
                <a:r>
                  <a:rPr lang="en-US" sz="1400" dirty="0"/>
                  <a:t>Equally sensitive to noise as the ground state energy.</a:t>
                </a:r>
              </a:p>
            </p:txBody>
          </p:sp>
        </mc:Choice>
        <mc:Fallback xmlns="">
          <p:sp>
            <p:nvSpPr>
              <p:cNvPr id="2" name="Content Placeholder 1">
                <a:extLst>
                  <a:ext uri="{FF2B5EF4-FFF2-40B4-BE49-F238E27FC236}">
                    <a16:creationId xmlns:a16="http://schemas.microsoft.com/office/drawing/2014/main" id="{327A5967-0C85-4F18-B149-98DE501CE0AC}"/>
                  </a:ext>
                </a:extLst>
              </p:cNvPr>
              <p:cNvSpPr>
                <a:spLocks noGrp="1" noRot="1" noChangeAspect="1" noMove="1" noResize="1" noEditPoints="1" noAdjustHandles="1" noChangeArrowheads="1" noChangeShapeType="1" noTextEdit="1"/>
              </p:cNvSpPr>
              <p:nvPr>
                <p:ph idx="1"/>
              </p:nvPr>
            </p:nvSpPr>
            <p:spPr>
              <a:blipFill>
                <a:blip r:embed="rId2"/>
                <a:stretch>
                  <a:fillRect l="-1667" t="-2334"/>
                </a:stretch>
              </a:blipFill>
            </p:spPr>
            <p:txBody>
              <a:bodyPr/>
              <a:lstStyle/>
              <a:p>
                <a:r>
                  <a:rPr lang="en-US">
                    <a:noFill/>
                  </a:rPr>
                  <a:t> </a:t>
                </a:r>
              </a:p>
            </p:txBody>
          </p:sp>
        </mc:Fallback>
      </mc:AlternateContent>
      <p:sp>
        <p:nvSpPr>
          <p:cNvPr id="4" name="Slide Number Placeholder 3">
            <a:extLst>
              <a:ext uri="{FF2B5EF4-FFF2-40B4-BE49-F238E27FC236}">
                <a16:creationId xmlns:a16="http://schemas.microsoft.com/office/drawing/2014/main" id="{4F082B96-EE52-4FBD-832B-02D1152EAEFC}"/>
              </a:ext>
            </a:extLst>
          </p:cNvPr>
          <p:cNvSpPr>
            <a:spLocks noGrp="1"/>
          </p:cNvSpPr>
          <p:nvPr>
            <p:ph type="sldNum" sz="quarter" idx="12"/>
          </p:nvPr>
        </p:nvSpPr>
        <p:spPr/>
        <p:txBody>
          <a:bodyPr/>
          <a:lstStyle/>
          <a:p>
            <a:fld id="{143B55C4-4F5A-416B-997D-6CE47EB0A945}" type="slidenum">
              <a:rPr lang="en-GB" noProof="0" smtClean="0"/>
              <a:t>15</a:t>
            </a:fld>
            <a:endParaRPr lang="en-GB" noProof="0" dirty="0"/>
          </a:p>
        </p:txBody>
      </p:sp>
      <p:sp>
        <p:nvSpPr>
          <p:cNvPr id="5" name="Title 4">
            <a:extLst>
              <a:ext uri="{FF2B5EF4-FFF2-40B4-BE49-F238E27FC236}">
                <a16:creationId xmlns:a16="http://schemas.microsoft.com/office/drawing/2014/main" id="{2F85962A-2D28-47A8-8559-0360A19745E6}"/>
              </a:ext>
            </a:extLst>
          </p:cNvPr>
          <p:cNvSpPr>
            <a:spLocks noGrp="1"/>
          </p:cNvSpPr>
          <p:nvPr>
            <p:ph type="title"/>
          </p:nvPr>
        </p:nvSpPr>
        <p:spPr/>
        <p:txBody>
          <a:bodyPr/>
          <a:lstStyle/>
          <a:p>
            <a:r>
              <a:rPr lang="en-US" dirty="0"/>
              <a:t>Hellman-Feynman or finite differences on the Hamiltonian</a:t>
            </a:r>
          </a:p>
        </p:txBody>
      </p:sp>
    </p:spTree>
    <p:extLst>
      <p:ext uri="{BB962C8B-B14F-4D97-AF65-F5344CB8AC3E}">
        <p14:creationId xmlns:p14="http://schemas.microsoft.com/office/powerpoint/2010/main" val="2669600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F082B96-EE52-4FBD-832B-02D1152EAEFC}"/>
              </a:ext>
            </a:extLst>
          </p:cNvPr>
          <p:cNvSpPr>
            <a:spLocks noGrp="1"/>
          </p:cNvSpPr>
          <p:nvPr>
            <p:ph type="sldNum" sz="quarter" idx="12"/>
          </p:nvPr>
        </p:nvSpPr>
        <p:spPr/>
        <p:txBody>
          <a:bodyPr/>
          <a:lstStyle/>
          <a:p>
            <a:fld id="{143B55C4-4F5A-416B-997D-6CE47EB0A945}" type="slidenum">
              <a:rPr lang="en-GB" noProof="0" smtClean="0"/>
              <a:t>16</a:t>
            </a:fld>
            <a:endParaRPr lang="en-GB" noProof="0" dirty="0"/>
          </a:p>
        </p:txBody>
      </p:sp>
      <p:sp>
        <p:nvSpPr>
          <p:cNvPr id="5" name="Title 4">
            <a:extLst>
              <a:ext uri="{FF2B5EF4-FFF2-40B4-BE49-F238E27FC236}">
                <a16:creationId xmlns:a16="http://schemas.microsoft.com/office/drawing/2014/main" id="{2F85962A-2D28-47A8-8559-0360A19745E6}"/>
              </a:ext>
            </a:extLst>
          </p:cNvPr>
          <p:cNvSpPr>
            <a:spLocks noGrp="1"/>
          </p:cNvSpPr>
          <p:nvPr>
            <p:ph type="title"/>
          </p:nvPr>
        </p:nvSpPr>
        <p:spPr/>
        <p:txBody>
          <a:bodyPr/>
          <a:lstStyle/>
          <a:p>
            <a:r>
              <a:rPr lang="en-US" dirty="0"/>
              <a:t>This was Richard Feynman’s Bachelor’s thesis subject</a:t>
            </a:r>
          </a:p>
        </p:txBody>
      </p:sp>
      <p:pic>
        <p:nvPicPr>
          <p:cNvPr id="8" name="Picture 7" descr="Front page of Richard Feynman's Bachelor's thesis at MIT titled &quot;Forces and stresses in molecules&quot;.">
            <a:extLst>
              <a:ext uri="{FF2B5EF4-FFF2-40B4-BE49-F238E27FC236}">
                <a16:creationId xmlns:a16="http://schemas.microsoft.com/office/drawing/2014/main" id="{51337AAF-1F17-4FD5-A09C-35F71628E573}"/>
              </a:ext>
            </a:extLst>
          </p:cNvPr>
          <p:cNvPicPr>
            <a:picLocks noChangeAspect="1"/>
          </p:cNvPicPr>
          <p:nvPr/>
        </p:nvPicPr>
        <p:blipFill>
          <a:blip r:embed="rId2"/>
          <a:stretch>
            <a:fillRect/>
          </a:stretch>
        </p:blipFill>
        <p:spPr>
          <a:xfrm>
            <a:off x="874059" y="806109"/>
            <a:ext cx="3044358" cy="4046819"/>
          </a:xfrm>
          <a:prstGeom prst="rect">
            <a:avLst/>
          </a:prstGeom>
        </p:spPr>
      </p:pic>
      <p:pic>
        <p:nvPicPr>
          <p:cNvPr id="10" name="Picture 9" descr="Excerpt from Richard Feynman's Bachelor's thesis.&#10;&#10;Quoted text:&#10;&quot;Section 8: Concluding remarks&#10;I would suspect that the actual calculation of the forces in a real molecule to be not impractical. The integral of the derivative of the potential is not too different from the integral of the potential, which latter must be calculated if the energy is to be known at all (as in the variational method).&#10;I have made an unsuccessful attempt to compare the accuracy of this method of getting the slope when we use an almost correct wave function obtained from the variational method to the accuracy of the ordinary way of getting the energy at successive points.&quot;">
            <a:extLst>
              <a:ext uri="{FF2B5EF4-FFF2-40B4-BE49-F238E27FC236}">
                <a16:creationId xmlns:a16="http://schemas.microsoft.com/office/drawing/2014/main" id="{F4ECA384-4DB6-40B1-AAD3-D666E2C7D43F}"/>
              </a:ext>
            </a:extLst>
          </p:cNvPr>
          <p:cNvPicPr>
            <a:picLocks noChangeAspect="1"/>
          </p:cNvPicPr>
          <p:nvPr/>
        </p:nvPicPr>
        <p:blipFill>
          <a:blip r:embed="rId3"/>
          <a:stretch>
            <a:fillRect/>
          </a:stretch>
        </p:blipFill>
        <p:spPr>
          <a:xfrm>
            <a:off x="4838137" y="1169517"/>
            <a:ext cx="3112758" cy="2804466"/>
          </a:xfrm>
          <a:prstGeom prst="rect">
            <a:avLst/>
          </a:prstGeom>
        </p:spPr>
      </p:pic>
      <p:sp>
        <p:nvSpPr>
          <p:cNvPr id="12" name="TextBox 11">
            <a:extLst>
              <a:ext uri="{FF2B5EF4-FFF2-40B4-BE49-F238E27FC236}">
                <a16:creationId xmlns:a16="http://schemas.microsoft.com/office/drawing/2014/main" id="{7FE2001D-C13B-45EF-866E-4C01DDA55D96}"/>
              </a:ext>
            </a:extLst>
          </p:cNvPr>
          <p:cNvSpPr txBox="1"/>
          <p:nvPr/>
        </p:nvSpPr>
        <p:spPr>
          <a:xfrm>
            <a:off x="4719918" y="4546829"/>
            <a:ext cx="3691218" cy="430887"/>
          </a:xfrm>
          <a:prstGeom prst="rect">
            <a:avLst/>
          </a:prstGeom>
          <a:noFill/>
        </p:spPr>
        <p:txBody>
          <a:bodyPr wrap="square" lIns="0" tIns="0" rIns="0" bIns="0" rtlCol="0">
            <a:spAutoFit/>
          </a:bodyPr>
          <a:lstStyle/>
          <a:p>
            <a:r>
              <a:rPr lang="en-US" sz="1400" dirty="0"/>
              <a:t>Feynman, R.P. Forces in Molecules </a:t>
            </a:r>
            <a:r>
              <a:rPr lang="en-US" sz="1400" i="1" dirty="0"/>
              <a:t>Phys. Rev. </a:t>
            </a:r>
            <a:r>
              <a:rPr lang="en-US" sz="1400" dirty="0"/>
              <a:t>(1939) 56 340-343 doi:10.1103/PhysRev.56.340</a:t>
            </a:r>
          </a:p>
        </p:txBody>
      </p:sp>
      <p:sp>
        <p:nvSpPr>
          <p:cNvPr id="13" name="TextBox 12">
            <a:extLst>
              <a:ext uri="{FF2B5EF4-FFF2-40B4-BE49-F238E27FC236}">
                <a16:creationId xmlns:a16="http://schemas.microsoft.com/office/drawing/2014/main" id="{77739783-F061-4F68-9146-D9A691B12EAC}"/>
              </a:ext>
            </a:extLst>
          </p:cNvPr>
          <p:cNvSpPr txBox="1"/>
          <p:nvPr/>
        </p:nvSpPr>
        <p:spPr>
          <a:xfrm>
            <a:off x="2719346" y="2115409"/>
            <a:ext cx="3713259" cy="307777"/>
          </a:xfrm>
          <a:prstGeom prst="rect">
            <a:avLst/>
          </a:prstGeom>
          <a:noFill/>
        </p:spPr>
        <p:txBody>
          <a:bodyPr wrap="square" lIns="0" tIns="0" rIns="0" bIns="0" rtlCol="0">
            <a:spAutoFit/>
          </a:bodyPr>
          <a:lstStyle/>
          <a:p>
            <a:r>
              <a:rPr lang="en-US" sz="2000" dirty="0">
                <a:solidFill>
                  <a:srgbClr val="003366"/>
                </a:solidFill>
                <a:highlight>
                  <a:srgbClr val="99CCFF"/>
                </a:highlight>
              </a:rPr>
              <a:t>Just try things! You never know…</a:t>
            </a:r>
          </a:p>
        </p:txBody>
      </p:sp>
    </p:spTree>
    <p:extLst>
      <p:ext uri="{BB962C8B-B14F-4D97-AF65-F5344CB8AC3E}">
        <p14:creationId xmlns:p14="http://schemas.microsoft.com/office/powerpoint/2010/main" val="2337078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4F5DACA-3324-49C7-9C96-D5280A451E1B}"/>
              </a:ext>
            </a:extLst>
          </p:cNvPr>
          <p:cNvSpPr>
            <a:spLocks noGrp="1"/>
          </p:cNvSpPr>
          <p:nvPr>
            <p:ph type="sldNum" sz="quarter" idx="12"/>
          </p:nvPr>
        </p:nvSpPr>
        <p:spPr/>
        <p:txBody>
          <a:bodyPr/>
          <a:lstStyle/>
          <a:p>
            <a:fld id="{143B55C4-4F5A-416B-997D-6CE47EB0A945}" type="slidenum">
              <a:rPr lang="en-GB" noProof="0" smtClean="0"/>
              <a:t>17</a:t>
            </a:fld>
            <a:endParaRPr lang="en-GB" noProof="0" dirty="0"/>
          </a:p>
        </p:txBody>
      </p:sp>
      <p:sp>
        <p:nvSpPr>
          <p:cNvPr id="5" name="Title 4">
            <a:extLst>
              <a:ext uri="{FF2B5EF4-FFF2-40B4-BE49-F238E27FC236}">
                <a16:creationId xmlns:a16="http://schemas.microsoft.com/office/drawing/2014/main" id="{75FDE568-53F4-49C5-8BD5-0D5D638579DE}"/>
              </a:ext>
            </a:extLst>
          </p:cNvPr>
          <p:cNvSpPr>
            <a:spLocks noGrp="1"/>
          </p:cNvSpPr>
          <p:nvPr>
            <p:ph type="title"/>
          </p:nvPr>
        </p:nvSpPr>
        <p:spPr/>
        <p:txBody>
          <a:bodyPr/>
          <a:lstStyle/>
          <a:p>
            <a:r>
              <a:rPr lang="en-US" dirty="0"/>
              <a:t>Noisy simulation of MD with Hellman-Feynman forces</a:t>
            </a:r>
          </a:p>
        </p:txBody>
      </p:sp>
      <p:sp>
        <p:nvSpPr>
          <p:cNvPr id="8" name="TextBox 7">
            <a:extLst>
              <a:ext uri="{FF2B5EF4-FFF2-40B4-BE49-F238E27FC236}">
                <a16:creationId xmlns:a16="http://schemas.microsoft.com/office/drawing/2014/main" id="{79AB9BE1-A878-4B25-92C0-13EFFD8FD828}"/>
              </a:ext>
            </a:extLst>
          </p:cNvPr>
          <p:cNvSpPr txBox="1"/>
          <p:nvPr/>
        </p:nvSpPr>
        <p:spPr>
          <a:xfrm>
            <a:off x="1478067" y="4529706"/>
            <a:ext cx="6860218" cy="369332"/>
          </a:xfrm>
          <a:prstGeom prst="rect">
            <a:avLst/>
          </a:prstGeom>
          <a:noFill/>
        </p:spPr>
        <p:txBody>
          <a:bodyPr wrap="square" lIns="0" tIns="0" rIns="0" bIns="0" rtlCol="0">
            <a:spAutoFit/>
          </a:bodyPr>
          <a:lstStyle/>
          <a:p>
            <a:r>
              <a:rPr lang="en-US" sz="1200" dirty="0"/>
              <a:t>Sokolov, I.O. </a:t>
            </a:r>
            <a:r>
              <a:rPr lang="en-US" sz="1200" i="1" dirty="0"/>
              <a:t>et al</a:t>
            </a:r>
            <a:r>
              <a:rPr lang="en-US" sz="1200" dirty="0"/>
              <a:t>. Microcanonical and finite-</a:t>
            </a:r>
            <a:r>
              <a:rPr lang="en-US" sz="1200" dirty="0" err="1"/>
              <a:t>temerpature</a:t>
            </a:r>
            <a:r>
              <a:rPr lang="en-US" sz="1200" dirty="0"/>
              <a:t> </a:t>
            </a:r>
            <a:r>
              <a:rPr lang="en-US" sz="1200" i="1" dirty="0"/>
              <a:t>ab initio</a:t>
            </a:r>
            <a:r>
              <a:rPr lang="en-US" sz="1200" dirty="0"/>
              <a:t> molecular dynamics simulations on quantum computers. </a:t>
            </a:r>
            <a:r>
              <a:rPr lang="en-US" sz="1200" i="1" dirty="0"/>
              <a:t>Phys. Rev. Research </a:t>
            </a:r>
            <a:r>
              <a:rPr lang="en-US" sz="1200" dirty="0"/>
              <a:t>(2021) 3, 013125 doi:10.1103/PhysRevResearch.3.013125</a:t>
            </a:r>
          </a:p>
        </p:txBody>
      </p:sp>
      <p:pic>
        <p:nvPicPr>
          <p:cNvPr id="14" name="Picture 13" descr="Graphs showing the energy evolution when propagating H2 with Hellman-Feynman forces. Simulations at half and full noise strength are shown. There are plots with no error mitigation at all, with statistical error mitigation and with projective Lanczos error mitigation..">
            <a:extLst>
              <a:ext uri="{FF2B5EF4-FFF2-40B4-BE49-F238E27FC236}">
                <a16:creationId xmlns:a16="http://schemas.microsoft.com/office/drawing/2014/main" id="{DEAF4C9F-A9E2-430C-8F71-47DEC2DD3EE8}"/>
              </a:ext>
            </a:extLst>
          </p:cNvPr>
          <p:cNvPicPr>
            <a:picLocks noChangeAspect="1"/>
          </p:cNvPicPr>
          <p:nvPr/>
        </p:nvPicPr>
        <p:blipFill rotWithShape="1">
          <a:blip r:embed="rId3"/>
          <a:srcRect l="1176" t="937"/>
          <a:stretch/>
        </p:blipFill>
        <p:spPr>
          <a:xfrm>
            <a:off x="927847" y="823377"/>
            <a:ext cx="7288306" cy="3706329"/>
          </a:xfrm>
          <a:prstGeom prst="rect">
            <a:avLst/>
          </a:prstGeom>
        </p:spPr>
      </p:pic>
    </p:spTree>
    <p:extLst>
      <p:ext uri="{BB962C8B-B14F-4D97-AF65-F5344CB8AC3E}">
        <p14:creationId xmlns:p14="http://schemas.microsoft.com/office/powerpoint/2010/main" val="193220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4F5DACA-3324-49C7-9C96-D5280A451E1B}"/>
              </a:ext>
            </a:extLst>
          </p:cNvPr>
          <p:cNvSpPr>
            <a:spLocks noGrp="1"/>
          </p:cNvSpPr>
          <p:nvPr>
            <p:ph type="sldNum" sz="quarter" idx="12"/>
          </p:nvPr>
        </p:nvSpPr>
        <p:spPr/>
        <p:txBody>
          <a:bodyPr/>
          <a:lstStyle/>
          <a:p>
            <a:fld id="{143B55C4-4F5A-416B-997D-6CE47EB0A945}" type="slidenum">
              <a:rPr lang="en-GB" noProof="0" smtClean="0"/>
              <a:t>18</a:t>
            </a:fld>
            <a:endParaRPr lang="en-GB" noProof="0" dirty="0"/>
          </a:p>
        </p:txBody>
      </p:sp>
      <p:sp>
        <p:nvSpPr>
          <p:cNvPr id="5" name="Title 4">
            <a:extLst>
              <a:ext uri="{FF2B5EF4-FFF2-40B4-BE49-F238E27FC236}">
                <a16:creationId xmlns:a16="http://schemas.microsoft.com/office/drawing/2014/main" id="{75FDE568-53F4-49C5-8BD5-0D5D638579DE}"/>
              </a:ext>
            </a:extLst>
          </p:cNvPr>
          <p:cNvSpPr>
            <a:spLocks noGrp="1"/>
          </p:cNvSpPr>
          <p:nvPr>
            <p:ph type="title"/>
          </p:nvPr>
        </p:nvSpPr>
        <p:spPr/>
        <p:txBody>
          <a:bodyPr/>
          <a:lstStyle/>
          <a:p>
            <a:r>
              <a:rPr lang="en-US" dirty="0"/>
              <a:t>Hardware experiment of MD with Hellman-Feynman forces</a:t>
            </a:r>
          </a:p>
        </p:txBody>
      </p:sp>
      <p:sp>
        <p:nvSpPr>
          <p:cNvPr id="8" name="TextBox 7">
            <a:extLst>
              <a:ext uri="{FF2B5EF4-FFF2-40B4-BE49-F238E27FC236}">
                <a16:creationId xmlns:a16="http://schemas.microsoft.com/office/drawing/2014/main" id="{79AB9BE1-A878-4B25-92C0-13EFFD8FD828}"/>
              </a:ext>
            </a:extLst>
          </p:cNvPr>
          <p:cNvSpPr txBox="1"/>
          <p:nvPr/>
        </p:nvSpPr>
        <p:spPr>
          <a:xfrm>
            <a:off x="1478067" y="4529706"/>
            <a:ext cx="6860218" cy="369332"/>
          </a:xfrm>
          <a:prstGeom prst="rect">
            <a:avLst/>
          </a:prstGeom>
          <a:noFill/>
        </p:spPr>
        <p:txBody>
          <a:bodyPr wrap="square" lIns="0" tIns="0" rIns="0" bIns="0" rtlCol="0">
            <a:spAutoFit/>
          </a:bodyPr>
          <a:lstStyle/>
          <a:p>
            <a:r>
              <a:rPr lang="en-US" sz="1200" dirty="0"/>
              <a:t>Sokolov, I.O. </a:t>
            </a:r>
            <a:r>
              <a:rPr lang="en-US" sz="1200" i="1" dirty="0"/>
              <a:t>et al</a:t>
            </a:r>
            <a:r>
              <a:rPr lang="en-US" sz="1200" dirty="0"/>
              <a:t>. Microcanonical and finite-temperature </a:t>
            </a:r>
            <a:r>
              <a:rPr lang="en-US" sz="1200" i="1" dirty="0"/>
              <a:t>ab initio</a:t>
            </a:r>
            <a:r>
              <a:rPr lang="en-US" sz="1200" dirty="0"/>
              <a:t> molecular dynamics simulations on quantum computers. </a:t>
            </a:r>
            <a:r>
              <a:rPr lang="en-US" sz="1200" i="1" dirty="0"/>
              <a:t>Phys. Rev. Research </a:t>
            </a:r>
            <a:r>
              <a:rPr lang="en-US" sz="1200" dirty="0"/>
              <a:t>(2021) 3, 013125 doi:10.1103/PhysRevResearch.3.013125</a:t>
            </a:r>
          </a:p>
        </p:txBody>
      </p:sp>
      <p:pic>
        <p:nvPicPr>
          <p:cNvPr id="10" name="Picture 9" descr="Experimental numbers for the energy conservation in an MD run on hardware for H2 with Hellman-Feynman forces. ">
            <a:extLst>
              <a:ext uri="{FF2B5EF4-FFF2-40B4-BE49-F238E27FC236}">
                <a16:creationId xmlns:a16="http://schemas.microsoft.com/office/drawing/2014/main" id="{F541FF3F-FE16-4DE1-BC60-AB0B32989F54}"/>
              </a:ext>
            </a:extLst>
          </p:cNvPr>
          <p:cNvPicPr>
            <a:picLocks noChangeAspect="1"/>
          </p:cNvPicPr>
          <p:nvPr/>
        </p:nvPicPr>
        <p:blipFill>
          <a:blip r:embed="rId3"/>
          <a:stretch>
            <a:fillRect/>
          </a:stretch>
        </p:blipFill>
        <p:spPr>
          <a:xfrm>
            <a:off x="1413841" y="860436"/>
            <a:ext cx="5247861" cy="3657600"/>
          </a:xfrm>
          <a:prstGeom prst="rect">
            <a:avLst/>
          </a:prstGeom>
        </p:spPr>
      </p:pic>
      <p:sp>
        <p:nvSpPr>
          <p:cNvPr id="12" name="TextBox 11">
            <a:extLst>
              <a:ext uri="{FF2B5EF4-FFF2-40B4-BE49-F238E27FC236}">
                <a16:creationId xmlns:a16="http://schemas.microsoft.com/office/drawing/2014/main" id="{F1E7FF92-C8EC-4A52-AD8A-8C20F5A96A19}"/>
              </a:ext>
            </a:extLst>
          </p:cNvPr>
          <p:cNvSpPr txBox="1"/>
          <p:nvPr/>
        </p:nvSpPr>
        <p:spPr>
          <a:xfrm>
            <a:off x="2375605" y="2115409"/>
            <a:ext cx="4392790" cy="307777"/>
          </a:xfrm>
          <a:prstGeom prst="rect">
            <a:avLst/>
          </a:prstGeom>
          <a:noFill/>
        </p:spPr>
        <p:txBody>
          <a:bodyPr wrap="square" lIns="0" tIns="0" rIns="0" bIns="0" rtlCol="0">
            <a:spAutoFit/>
          </a:bodyPr>
          <a:lstStyle/>
          <a:p>
            <a:r>
              <a:rPr lang="en-US" sz="2000" dirty="0">
                <a:solidFill>
                  <a:srgbClr val="003366"/>
                </a:solidFill>
                <a:highlight>
                  <a:srgbClr val="99CCFF"/>
                </a:highlight>
              </a:rPr>
              <a:t>But what with the piece we neglected?</a:t>
            </a:r>
          </a:p>
        </p:txBody>
      </p:sp>
    </p:spTree>
    <p:extLst>
      <p:ext uri="{BB962C8B-B14F-4D97-AF65-F5344CB8AC3E}">
        <p14:creationId xmlns:p14="http://schemas.microsoft.com/office/powerpoint/2010/main" val="604038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00B25FF4-C431-49DA-8D86-E1FBA8B252BB}"/>
                  </a:ext>
                </a:extLst>
              </p:cNvPr>
              <p:cNvSpPr>
                <a:spLocks noGrp="1"/>
              </p:cNvSpPr>
              <p:nvPr>
                <p:ph idx="1"/>
              </p:nvPr>
            </p:nvSpPr>
            <p:spPr/>
            <p:txBody>
              <a:bodyPr/>
              <a:lstStyle/>
              <a:p>
                <a:pPr marL="0" indent="0">
                  <a:buNone/>
                </a:pPr>
                <a:r>
                  <a:rPr lang="en-US" sz="1800" dirty="0"/>
                  <a:t>What about the pieces that we neglected?</a:t>
                </a:r>
              </a:p>
              <a:p>
                <a:pPr marL="0" indent="0">
                  <a:buNone/>
                </a:pPr>
                <a14:m>
                  <m:oMathPara xmlns:m="http://schemas.openxmlformats.org/officeDocument/2006/math">
                    <m:oMathParaPr>
                      <m:jc m:val="centerGroup"/>
                    </m:oMathParaPr>
                    <m:oMath xmlns:m="http://schemas.openxmlformats.org/officeDocument/2006/math">
                      <m:f>
                        <m:fPr>
                          <m:ctrlPr>
                            <a:rPr lang="en-US" sz="1600" i="1" smtClean="0">
                              <a:latin typeface="Cambria Math" panose="02040503050406030204" pitchFamily="18" charset="0"/>
                            </a:rPr>
                          </m:ctrlPr>
                        </m:fPr>
                        <m:num>
                          <m:r>
                            <m:rPr>
                              <m:sty m:val="p"/>
                            </m:rPr>
                            <a:rPr lang="en-US" sz="1600">
                              <a:latin typeface="Cambria Math" panose="02040503050406030204" pitchFamily="18" charset="0"/>
                            </a:rPr>
                            <m:t>d</m:t>
                          </m:r>
                          <m:r>
                            <a:rPr lang="en-US" sz="1600" i="1">
                              <a:latin typeface="Cambria Math" panose="02040503050406030204" pitchFamily="18" charset="0"/>
                            </a:rPr>
                            <m:t>𝐸</m:t>
                          </m:r>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r>
                        <m:rPr>
                          <m:aln/>
                        </m:rPr>
                        <a:rPr lang="en-US" sz="1600" b="1" i="1" smtClean="0">
                          <a:latin typeface="Cambria Math" panose="02040503050406030204" pitchFamily="18" charset="0"/>
                          <a:ea typeface="Cambria Math" panose="02040503050406030204" pitchFamily="18" charset="0"/>
                        </a:rPr>
                        <m:t>≅</m:t>
                      </m:r>
                      <m:d>
                        <m:dPr>
                          <m:begChr m:val="⟨"/>
                          <m:endChr m:val="⟩"/>
                          <m:ctrlPr>
                            <a:rPr lang="en-US" sz="1600" b="1" i="1" smtClean="0">
                              <a:latin typeface="Cambria Math" panose="02040503050406030204" pitchFamily="18" charset="0"/>
                              <a:ea typeface="Cambria Math" panose="02040503050406030204" pitchFamily="18" charset="0"/>
                            </a:rPr>
                          </m:ctrlPr>
                        </m:dPr>
                        <m:e>
                          <m:r>
                            <m:rPr>
                              <m:sty m:val="p"/>
                            </m:rPr>
                            <a:rPr lang="en-US" sz="1600">
                              <a:latin typeface="Cambria Math" panose="02040503050406030204" pitchFamily="18" charset="0"/>
                            </a:rPr>
                            <m:t>Ψ</m:t>
                          </m:r>
                          <m:d>
                            <m:dPr>
                              <m:ctrlPr>
                                <a:rPr lang="en-US" sz="1600" i="1">
                                  <a:latin typeface="Cambria Math" panose="02040503050406030204" pitchFamily="18" charset="0"/>
                                </a:rPr>
                              </m:ctrlPr>
                            </m:dPr>
                            <m:e>
                              <m:r>
                                <a:rPr lang="en-US" sz="1600" b="1" i="1">
                                  <a:latin typeface="Cambria Math" panose="02040503050406030204" pitchFamily="18" charset="0"/>
                                </a:rPr>
                                <m:t>𝑹</m:t>
                              </m:r>
                            </m:e>
                          </m:d>
                        </m:e>
                        <m:e>
                          <m:f>
                            <m:fPr>
                              <m:ctrlPr>
                                <a:rPr lang="en-US" sz="1600" b="1" i="1" smtClean="0">
                                  <a:latin typeface="Cambria Math" panose="02040503050406030204" pitchFamily="18" charset="0"/>
                                  <a:ea typeface="Cambria Math" panose="02040503050406030204" pitchFamily="18" charset="0"/>
                                </a:rPr>
                              </m:ctrlPr>
                            </m:fPr>
                            <m:num>
                              <m:r>
                                <a:rPr lang="en-US" sz="1600" b="0" i="1" smtClean="0">
                                  <a:latin typeface="Cambria Math" panose="02040503050406030204" pitchFamily="18" charset="0"/>
                                  <a:ea typeface="Cambria Math" panose="02040503050406030204" pitchFamily="18" charset="0"/>
                                </a:rPr>
                                <m:t>𝜕</m:t>
                              </m:r>
                              <m:r>
                                <m:rPr>
                                  <m:sty m:val="p"/>
                                </m:rPr>
                                <a:rPr lang="en-US" sz="1600">
                                  <a:latin typeface="Cambria Math" panose="02040503050406030204" pitchFamily="18" charset="0"/>
                                </a:rPr>
                                <m:t>H</m:t>
                              </m:r>
                            </m:num>
                            <m:den>
                              <m:r>
                                <a:rPr lang="en-US" sz="1600" b="0" i="1" smtClean="0">
                                  <a:latin typeface="Cambria Math" panose="02040503050406030204" pitchFamily="18" charset="0"/>
                                </a:rPr>
                                <m:t>𝜕</m:t>
                              </m:r>
                              <m:sSub>
                                <m:sSubPr>
                                  <m:ctrlPr>
                                    <a:rPr lang="en-US" sz="1600" i="1" smtClean="0">
                                      <a:latin typeface="Cambria Math" panose="02040503050406030204" pitchFamily="18" charset="0"/>
                                    </a:rPr>
                                  </m:ctrlPr>
                                </m:sSubPr>
                                <m:e>
                                  <m:r>
                                    <a:rPr lang="en-US" sz="1600" b="0" i="1" smtClean="0">
                                      <a:latin typeface="Cambria Math" panose="02040503050406030204" pitchFamily="18" charset="0"/>
                                    </a:rPr>
                                    <m:t>𝑅</m:t>
                                  </m:r>
                                </m:e>
                                <m:sub>
                                  <m:r>
                                    <a:rPr lang="en-US" sz="1600" b="0" i="1" smtClean="0">
                                      <a:latin typeface="Cambria Math" panose="02040503050406030204" pitchFamily="18" charset="0"/>
                                    </a:rPr>
                                    <m:t>𝐼</m:t>
                                  </m:r>
                                </m:sub>
                              </m:sSub>
                            </m:den>
                          </m:f>
                          <m:d>
                            <m:dPr>
                              <m:ctrlPr>
                                <a:rPr lang="en-US" sz="1600" b="1" i="1" smtClean="0">
                                  <a:latin typeface="Cambria Math" panose="02040503050406030204" pitchFamily="18" charset="0"/>
                                </a:rPr>
                              </m:ctrlPr>
                            </m:dPr>
                            <m:e>
                              <m:r>
                                <a:rPr lang="en-US" sz="1600" b="1" i="1" smtClean="0">
                                  <a:latin typeface="Cambria Math" panose="02040503050406030204" pitchFamily="18" charset="0"/>
                                </a:rPr>
                                <m:t>𝑹</m:t>
                              </m:r>
                            </m:e>
                          </m:d>
                        </m:e>
                        <m:e>
                          <m:r>
                            <m:rPr>
                              <m:sty m:val="p"/>
                            </m:rPr>
                            <a:rPr lang="en-US" sz="1600">
                              <a:latin typeface="Cambria Math" panose="02040503050406030204" pitchFamily="18" charset="0"/>
                            </a:rPr>
                            <m:t>Ψ</m:t>
                          </m:r>
                          <m:d>
                            <m:dPr>
                              <m:ctrlPr>
                                <a:rPr lang="en-US" sz="1600" i="1">
                                  <a:latin typeface="Cambria Math" panose="02040503050406030204" pitchFamily="18" charset="0"/>
                                </a:rPr>
                              </m:ctrlPr>
                            </m:dPr>
                            <m:e>
                              <m:r>
                                <a:rPr lang="en-US" sz="1600" b="1" i="1">
                                  <a:latin typeface="Cambria Math" panose="02040503050406030204" pitchFamily="18" charset="0"/>
                                </a:rPr>
                                <m:t>𝑹</m:t>
                              </m:r>
                            </m:e>
                          </m:d>
                        </m:e>
                      </m:d>
                      <m:r>
                        <a:rPr lang="en-US" sz="1600" b="0" i="1" smtClean="0">
                          <a:latin typeface="Cambria Math" panose="02040503050406030204" pitchFamily="18" charset="0"/>
                        </a:rPr>
                        <m:t>−2</m:t>
                      </m:r>
                      <m:d>
                        <m:dPr>
                          <m:begChr m:val="⟨"/>
                          <m:endChr m:val="⟩"/>
                          <m:ctrlPr>
                            <a:rPr lang="en-US" sz="1600" b="0" i="1" smtClean="0">
                              <a:latin typeface="Cambria Math" panose="02040503050406030204" pitchFamily="18" charset="0"/>
                            </a:rPr>
                          </m:ctrlPr>
                        </m:dPr>
                        <m:e>
                          <m:f>
                            <m:fPr>
                              <m:ctrlPr>
                                <a:rPr lang="en-US" sz="1600" b="0" i="1" smtClean="0">
                                  <a:latin typeface="Cambria Math" panose="02040503050406030204" pitchFamily="18" charset="0"/>
                                </a:rPr>
                              </m:ctrlPr>
                            </m:fPr>
                            <m:num>
                              <m:r>
                                <a:rPr lang="en-US" sz="1600" b="0" i="1" smtClean="0">
                                  <a:latin typeface="Cambria Math" panose="02040503050406030204" pitchFamily="18" charset="0"/>
                                </a:rPr>
                                <m:t>𝜕</m:t>
                              </m:r>
                              <m:r>
                                <m:rPr>
                                  <m:sty m:val="p"/>
                                </m:rPr>
                                <a:rPr lang="en-US" sz="1600" b="0" i="0" smtClean="0">
                                  <a:latin typeface="Cambria Math" panose="02040503050406030204" pitchFamily="18" charset="0"/>
                                </a:rPr>
                                <m:t>Ψ</m:t>
                              </m:r>
                              <m:r>
                                <a:rPr lang="en-US" sz="1600" b="0" i="1" smtClean="0">
                                  <a:latin typeface="Cambria Math" panose="02040503050406030204" pitchFamily="18" charset="0"/>
                                </a:rPr>
                                <m:t>(</m:t>
                              </m:r>
                              <m:r>
                                <a:rPr lang="en-US" sz="1600" b="1" i="1" smtClean="0">
                                  <a:latin typeface="Cambria Math" panose="02040503050406030204" pitchFamily="18" charset="0"/>
                                </a:rPr>
                                <m:t>𝑹</m:t>
                              </m:r>
                              <m:r>
                                <a:rPr lang="en-US" sz="1600" b="0" i="1" smtClean="0">
                                  <a:latin typeface="Cambria Math" panose="02040503050406030204" pitchFamily="18" charset="0"/>
                                </a:rPr>
                                <m:t>)</m:t>
                              </m:r>
                            </m:num>
                            <m:den>
                              <m:r>
                                <a:rPr lang="en-US" sz="1600" b="0" i="1" smtClean="0">
                                  <a:latin typeface="Cambria Math" panose="02040503050406030204" pitchFamily="18" charset="0"/>
                                </a:rPr>
                                <m:t>𝜕</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𝑅</m:t>
                                  </m:r>
                                </m:e>
                                <m:sub>
                                  <m:r>
                                    <a:rPr lang="en-US" sz="1600" b="0" i="1" smtClean="0">
                                      <a:latin typeface="Cambria Math" panose="02040503050406030204" pitchFamily="18" charset="0"/>
                                    </a:rPr>
                                    <m:t>𝐼</m:t>
                                  </m:r>
                                </m:sub>
                              </m:sSub>
                            </m:den>
                          </m:f>
                        </m:e>
                        <m:e>
                          <m:r>
                            <a:rPr lang="en-US" sz="1600" b="0" i="1" smtClean="0">
                              <a:latin typeface="Cambria Math" panose="02040503050406030204" pitchFamily="18" charset="0"/>
                            </a:rPr>
                            <m:t>𝐻</m:t>
                          </m:r>
                          <m:r>
                            <a:rPr lang="en-US" sz="1600" b="0" i="1" smtClean="0">
                              <a:latin typeface="Cambria Math" panose="02040503050406030204" pitchFamily="18" charset="0"/>
                            </a:rPr>
                            <m:t>(</m:t>
                          </m:r>
                          <m:r>
                            <a:rPr lang="en-US" sz="1600" b="1" i="1" smtClean="0">
                              <a:latin typeface="Cambria Math" panose="02040503050406030204" pitchFamily="18" charset="0"/>
                            </a:rPr>
                            <m:t>𝑹</m:t>
                          </m:r>
                          <m:r>
                            <a:rPr lang="en-US" sz="1600" b="0" i="1" smtClean="0">
                              <a:latin typeface="Cambria Math" panose="02040503050406030204" pitchFamily="18" charset="0"/>
                            </a:rPr>
                            <m:t>)</m:t>
                          </m:r>
                        </m:e>
                        <m:e>
                          <m:r>
                            <m:rPr>
                              <m:sty m:val="p"/>
                            </m:rPr>
                            <a:rPr lang="en-US" sz="1600" b="0" i="0" smtClean="0">
                              <a:latin typeface="Cambria Math" panose="02040503050406030204" pitchFamily="18" charset="0"/>
                            </a:rPr>
                            <m:t>Ψ</m:t>
                          </m:r>
                          <m:r>
                            <a:rPr lang="en-US" sz="1600" b="0" i="1" smtClean="0">
                              <a:latin typeface="Cambria Math" panose="02040503050406030204" pitchFamily="18" charset="0"/>
                            </a:rPr>
                            <m:t>(</m:t>
                          </m:r>
                          <m:r>
                            <a:rPr lang="en-US" sz="1600" b="1" i="1" smtClean="0">
                              <a:latin typeface="Cambria Math" panose="02040503050406030204" pitchFamily="18" charset="0"/>
                            </a:rPr>
                            <m:t>𝑹</m:t>
                          </m:r>
                          <m:r>
                            <a:rPr lang="en-US" sz="1600" b="0" i="1" smtClean="0">
                              <a:latin typeface="Cambria Math" panose="02040503050406030204" pitchFamily="18" charset="0"/>
                            </a:rPr>
                            <m:t>)</m:t>
                          </m:r>
                        </m:e>
                      </m:d>
                    </m:oMath>
                  </m:oMathPara>
                </a14:m>
                <a:endParaRPr lang="en-US" sz="1600" dirty="0"/>
              </a:p>
              <a:p>
                <a:pPr marL="0" indent="0">
                  <a:buNone/>
                </a:pPr>
                <a:r>
                  <a:rPr lang="en-US" sz="1800" dirty="0"/>
                  <a:t>The last term models the change in basis when changing the geometry.</a:t>
                </a:r>
              </a:p>
              <a:p>
                <a:pPr marL="0" indent="0">
                  <a:buNone/>
                </a:pPr>
                <a:endParaRPr lang="en-US" sz="1800" dirty="0"/>
              </a:p>
              <a:p>
                <a:pPr marL="0" indent="0">
                  <a:buNone/>
                </a:pPr>
                <a:r>
                  <a:rPr lang="en-US" sz="1800" dirty="0"/>
                  <a:t>Only appears in the case of</a:t>
                </a:r>
              </a:p>
              <a:p>
                <a:pPr lvl="1"/>
                <a:r>
                  <a:rPr lang="en-US" sz="1400" dirty="0"/>
                  <a:t>Position dependent basis sets such as atom centered Gaussian orbitals</a:t>
                </a:r>
              </a:p>
              <a:p>
                <a:pPr lvl="1"/>
                <a:r>
                  <a:rPr lang="en-US" sz="1400" dirty="0"/>
                  <a:t>The wave function is not at a variational minimum with respect to all variables</a:t>
                </a:r>
              </a:p>
              <a:p>
                <a:pPr lvl="1"/>
                <a:endParaRPr lang="en-US" sz="1400" dirty="0"/>
              </a:p>
              <a:p>
                <a:pPr marL="0" indent="0">
                  <a:buNone/>
                </a:pPr>
                <a:r>
                  <a:rPr lang="en-US" sz="1800" dirty="0"/>
                  <a:t>Does not apply when</a:t>
                </a:r>
              </a:p>
              <a:p>
                <a:pPr lvl="1"/>
                <a:r>
                  <a:rPr lang="en-US" sz="1400" dirty="0"/>
                  <a:t>Position independent basis sets such as plane waves</a:t>
                </a:r>
              </a:p>
              <a:p>
                <a:pPr lvl="1"/>
                <a:r>
                  <a:rPr lang="en-US" sz="1400" dirty="0"/>
                  <a:t>The complete basis set limit, even with atom centered Gaussians</a:t>
                </a:r>
              </a:p>
            </p:txBody>
          </p:sp>
        </mc:Choice>
        <mc:Fallback xmlns="">
          <p:sp>
            <p:nvSpPr>
              <p:cNvPr id="2" name="Content Placeholder 1">
                <a:extLst>
                  <a:ext uri="{FF2B5EF4-FFF2-40B4-BE49-F238E27FC236}">
                    <a16:creationId xmlns:a16="http://schemas.microsoft.com/office/drawing/2014/main" id="{00B25FF4-C431-49DA-8D86-E1FBA8B252BB}"/>
                  </a:ext>
                </a:extLst>
              </p:cNvPr>
              <p:cNvSpPr>
                <a:spLocks noGrp="1" noRot="1" noChangeAspect="1" noMove="1" noResize="1" noEditPoints="1" noAdjustHandles="1" noChangeArrowheads="1" noChangeShapeType="1" noTextEdit="1"/>
              </p:cNvSpPr>
              <p:nvPr>
                <p:ph idx="1"/>
              </p:nvPr>
            </p:nvSpPr>
            <p:spPr>
              <a:blipFill>
                <a:blip r:embed="rId2"/>
                <a:stretch>
                  <a:fillRect l="-1667" t="-2334"/>
                </a:stretch>
              </a:blipFill>
            </p:spPr>
            <p:txBody>
              <a:bodyPr/>
              <a:lstStyle/>
              <a:p>
                <a:r>
                  <a:rPr lang="en-US">
                    <a:noFill/>
                  </a:rPr>
                  <a:t> </a:t>
                </a:r>
              </a:p>
            </p:txBody>
          </p:sp>
        </mc:Fallback>
      </mc:AlternateContent>
      <p:sp>
        <p:nvSpPr>
          <p:cNvPr id="4" name="Slide Number Placeholder 3">
            <a:extLst>
              <a:ext uri="{FF2B5EF4-FFF2-40B4-BE49-F238E27FC236}">
                <a16:creationId xmlns:a16="http://schemas.microsoft.com/office/drawing/2014/main" id="{D38D3A07-7FF4-4315-AB94-74D7E0C20D15}"/>
              </a:ext>
            </a:extLst>
          </p:cNvPr>
          <p:cNvSpPr>
            <a:spLocks noGrp="1"/>
          </p:cNvSpPr>
          <p:nvPr>
            <p:ph type="sldNum" sz="quarter" idx="12"/>
          </p:nvPr>
        </p:nvSpPr>
        <p:spPr/>
        <p:txBody>
          <a:bodyPr/>
          <a:lstStyle/>
          <a:p>
            <a:fld id="{143B55C4-4F5A-416B-997D-6CE47EB0A945}" type="slidenum">
              <a:rPr lang="en-GB" noProof="0" smtClean="0"/>
              <a:t>19</a:t>
            </a:fld>
            <a:endParaRPr lang="en-GB" noProof="0" dirty="0"/>
          </a:p>
        </p:txBody>
      </p:sp>
      <p:sp>
        <p:nvSpPr>
          <p:cNvPr id="5" name="Title 4">
            <a:extLst>
              <a:ext uri="{FF2B5EF4-FFF2-40B4-BE49-F238E27FC236}">
                <a16:creationId xmlns:a16="http://schemas.microsoft.com/office/drawing/2014/main" id="{A94BAD5E-5944-489D-80A2-7CDBBE98CCDC}"/>
              </a:ext>
            </a:extLst>
          </p:cNvPr>
          <p:cNvSpPr>
            <a:spLocks noGrp="1"/>
          </p:cNvSpPr>
          <p:nvPr>
            <p:ph type="title"/>
          </p:nvPr>
        </p:nvSpPr>
        <p:spPr/>
        <p:txBody>
          <a:bodyPr/>
          <a:lstStyle/>
          <a:p>
            <a:r>
              <a:rPr lang="en-US" dirty="0" err="1"/>
              <a:t>Pulay</a:t>
            </a:r>
            <a:r>
              <a:rPr lang="en-US" dirty="0"/>
              <a:t> terms</a:t>
            </a:r>
          </a:p>
        </p:txBody>
      </p:sp>
      <p:sp>
        <p:nvSpPr>
          <p:cNvPr id="6" name="TextBox 5">
            <a:extLst>
              <a:ext uri="{FF2B5EF4-FFF2-40B4-BE49-F238E27FC236}">
                <a16:creationId xmlns:a16="http://schemas.microsoft.com/office/drawing/2014/main" id="{156FA819-E3CE-453C-9ADA-4EB692D3F8F6}"/>
              </a:ext>
            </a:extLst>
          </p:cNvPr>
          <p:cNvSpPr txBox="1"/>
          <p:nvPr/>
        </p:nvSpPr>
        <p:spPr>
          <a:xfrm>
            <a:off x="4680058" y="4475667"/>
            <a:ext cx="3993775" cy="553998"/>
          </a:xfrm>
          <a:prstGeom prst="rect">
            <a:avLst/>
          </a:prstGeom>
          <a:noFill/>
        </p:spPr>
        <p:txBody>
          <a:bodyPr wrap="square" lIns="0" tIns="0" rIns="0" bIns="0" rtlCol="0">
            <a:spAutoFit/>
          </a:bodyPr>
          <a:lstStyle/>
          <a:p>
            <a:r>
              <a:rPr lang="en-US" sz="1200" dirty="0" err="1"/>
              <a:t>Pulay</a:t>
            </a:r>
            <a:r>
              <a:rPr lang="en-US" sz="1200" dirty="0"/>
              <a:t>, P. </a:t>
            </a:r>
            <a:r>
              <a:rPr lang="en-US" sz="1200" i="1" dirty="0"/>
              <a:t>Ab initio </a:t>
            </a:r>
            <a:r>
              <a:rPr lang="en-US" sz="1200" dirty="0"/>
              <a:t>calculation of force constants and equilibrium geometries in polyatomic molecules. </a:t>
            </a:r>
            <a:r>
              <a:rPr lang="en-US" sz="1200" i="1" dirty="0"/>
              <a:t>Mol. Phys </a:t>
            </a:r>
            <a:r>
              <a:rPr lang="en-US" sz="1200" dirty="0"/>
              <a:t>(1970) 17:2, 197-204. doi:10.1080/00268976900100941</a:t>
            </a:r>
          </a:p>
        </p:txBody>
      </p:sp>
    </p:spTree>
    <p:extLst>
      <p:ext uri="{BB962C8B-B14F-4D97-AF65-F5344CB8AC3E}">
        <p14:creationId xmlns:p14="http://schemas.microsoft.com/office/powerpoint/2010/main" val="2533284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ooter Placeholder 2">
            <a:extLst>
              <a:ext uri="{FF2B5EF4-FFF2-40B4-BE49-F238E27FC236}">
                <a16:creationId xmlns:a16="http://schemas.microsoft.com/office/drawing/2014/main" id="{1DF96032-77EB-415C-AF53-33F52629AFD1}"/>
              </a:ext>
            </a:extLst>
          </p:cNvPr>
          <p:cNvSpPr>
            <a:spLocks noGrp="1"/>
          </p:cNvSpPr>
          <p:nvPr>
            <p:ph type="ftr" sz="quarter" idx="11"/>
          </p:nvPr>
        </p:nvSpPr>
        <p:spPr>
          <a:xfrm>
            <a:off x="1351328" y="4910708"/>
            <a:ext cx="6139718" cy="153888"/>
          </a:xfrm>
        </p:spPr>
        <p:txBody>
          <a:bodyPr/>
          <a:lstStyle/>
          <a:p>
            <a:endParaRPr lang="en-GB"/>
          </a:p>
        </p:txBody>
      </p:sp>
      <p:sp>
        <p:nvSpPr>
          <p:cNvPr id="4" name="Slide Number Placeholder 3">
            <a:extLst>
              <a:ext uri="{FF2B5EF4-FFF2-40B4-BE49-F238E27FC236}">
                <a16:creationId xmlns:a16="http://schemas.microsoft.com/office/drawing/2014/main" id="{28693B08-22A6-4EE6-9AB7-16D6F419D924}"/>
              </a:ext>
            </a:extLst>
          </p:cNvPr>
          <p:cNvSpPr>
            <a:spLocks noGrp="1"/>
          </p:cNvSpPr>
          <p:nvPr>
            <p:ph type="sldNum" sz="quarter" idx="12"/>
          </p:nvPr>
        </p:nvSpPr>
        <p:spPr>
          <a:xfrm>
            <a:off x="8571241" y="4910708"/>
            <a:ext cx="205184" cy="153888"/>
          </a:xfrm>
        </p:spPr>
        <p:txBody>
          <a:bodyPr wrap="none" anchor="ctr">
            <a:normAutofit/>
          </a:bodyPr>
          <a:lstStyle/>
          <a:p>
            <a:pPr>
              <a:spcAft>
                <a:spcPts val="600"/>
              </a:spcAft>
            </a:pPr>
            <a:fld id="{143B55C4-4F5A-416B-997D-6CE47EB0A945}" type="slidenum">
              <a:rPr lang="en-GB" smtClean="0"/>
              <a:pPr>
                <a:spcAft>
                  <a:spcPts val="600"/>
                </a:spcAft>
              </a:pPr>
              <a:t>2</a:t>
            </a:fld>
            <a:endParaRPr lang="en-GB"/>
          </a:p>
        </p:txBody>
      </p:sp>
      <p:sp>
        <p:nvSpPr>
          <p:cNvPr id="5" name="Title 4">
            <a:extLst>
              <a:ext uri="{FF2B5EF4-FFF2-40B4-BE49-F238E27FC236}">
                <a16:creationId xmlns:a16="http://schemas.microsoft.com/office/drawing/2014/main" id="{DF22D0E2-1AB3-414C-A16E-4192742BA946}"/>
              </a:ext>
            </a:extLst>
          </p:cNvPr>
          <p:cNvSpPr>
            <a:spLocks noGrp="1"/>
          </p:cNvSpPr>
          <p:nvPr>
            <p:ph type="title"/>
          </p:nvPr>
        </p:nvSpPr>
        <p:spPr>
          <a:xfrm>
            <a:off x="367575" y="140400"/>
            <a:ext cx="8408850" cy="553998"/>
          </a:xfrm>
        </p:spPr>
        <p:txBody>
          <a:bodyPr wrap="square" anchor="t">
            <a:normAutofit/>
          </a:bodyPr>
          <a:lstStyle/>
          <a:p>
            <a:r>
              <a:rPr lang="en-US" sz="2400" dirty="0"/>
              <a:t>Why does a pharmaceutical company hire quantum scientists?</a:t>
            </a:r>
          </a:p>
        </p:txBody>
      </p:sp>
      <p:graphicFrame>
        <p:nvGraphicFramePr>
          <p:cNvPr id="31" name="Content Placeholder 1">
            <a:extLst>
              <a:ext uri="{FF2B5EF4-FFF2-40B4-BE49-F238E27FC236}">
                <a16:creationId xmlns:a16="http://schemas.microsoft.com/office/drawing/2014/main" id="{DE937CEB-C096-4390-92F2-94417C9F3AEC}"/>
              </a:ext>
            </a:extLst>
          </p:cNvPr>
          <p:cNvGraphicFramePr>
            <a:graphicFrameLocks noGrp="1"/>
          </p:cNvGraphicFramePr>
          <p:nvPr>
            <p:ph idx="1"/>
          </p:nvPr>
        </p:nvGraphicFramePr>
        <p:xfrm>
          <a:off x="367575" y="1200151"/>
          <a:ext cx="8408850" cy="33944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15579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Original table from Peter Pulay's work on the Pulay terms for H2O. The forces due to the basis set response are of the order of the full force or even larger.">
            <a:extLst>
              <a:ext uri="{FF2B5EF4-FFF2-40B4-BE49-F238E27FC236}">
                <a16:creationId xmlns:a16="http://schemas.microsoft.com/office/drawing/2014/main" id="{17644CD2-59CC-4A59-878D-381C06B4AFC9}"/>
              </a:ext>
            </a:extLst>
          </p:cNvPr>
          <p:cNvPicPr>
            <a:picLocks noGrp="1" noChangeAspect="1"/>
          </p:cNvPicPr>
          <p:nvPr>
            <p:ph idx="1"/>
          </p:nvPr>
        </p:nvPicPr>
        <p:blipFill>
          <a:blip r:embed="rId2"/>
          <a:stretch>
            <a:fillRect/>
          </a:stretch>
        </p:blipFill>
        <p:spPr>
          <a:xfrm rot="5400000">
            <a:off x="4975149" y="432314"/>
            <a:ext cx="3472575" cy="4278872"/>
          </a:xfrm>
        </p:spPr>
      </p:pic>
      <p:sp>
        <p:nvSpPr>
          <p:cNvPr id="4" name="Slide Number Placeholder 3">
            <a:extLst>
              <a:ext uri="{FF2B5EF4-FFF2-40B4-BE49-F238E27FC236}">
                <a16:creationId xmlns:a16="http://schemas.microsoft.com/office/drawing/2014/main" id="{D38D3A07-7FF4-4315-AB94-74D7E0C20D15}"/>
              </a:ext>
            </a:extLst>
          </p:cNvPr>
          <p:cNvSpPr>
            <a:spLocks noGrp="1"/>
          </p:cNvSpPr>
          <p:nvPr>
            <p:ph type="sldNum" sz="quarter" idx="12"/>
          </p:nvPr>
        </p:nvSpPr>
        <p:spPr/>
        <p:txBody>
          <a:bodyPr/>
          <a:lstStyle/>
          <a:p>
            <a:fld id="{143B55C4-4F5A-416B-997D-6CE47EB0A945}" type="slidenum">
              <a:rPr lang="en-GB" noProof="0" smtClean="0"/>
              <a:t>20</a:t>
            </a:fld>
            <a:endParaRPr lang="en-GB" noProof="0" dirty="0"/>
          </a:p>
        </p:txBody>
      </p:sp>
      <p:sp>
        <p:nvSpPr>
          <p:cNvPr id="5" name="Title 4">
            <a:extLst>
              <a:ext uri="{FF2B5EF4-FFF2-40B4-BE49-F238E27FC236}">
                <a16:creationId xmlns:a16="http://schemas.microsoft.com/office/drawing/2014/main" id="{A94BAD5E-5944-489D-80A2-7CDBBE98CCDC}"/>
              </a:ext>
            </a:extLst>
          </p:cNvPr>
          <p:cNvSpPr>
            <a:spLocks noGrp="1"/>
          </p:cNvSpPr>
          <p:nvPr>
            <p:ph type="title"/>
          </p:nvPr>
        </p:nvSpPr>
        <p:spPr/>
        <p:txBody>
          <a:bodyPr/>
          <a:lstStyle/>
          <a:p>
            <a:r>
              <a:rPr lang="en-US" dirty="0"/>
              <a:t>How important are the </a:t>
            </a:r>
            <a:r>
              <a:rPr lang="en-US" dirty="0" err="1"/>
              <a:t>Pulay</a:t>
            </a:r>
            <a:r>
              <a:rPr lang="en-US" dirty="0"/>
              <a:t> terms?</a:t>
            </a:r>
          </a:p>
        </p:txBody>
      </p:sp>
      <p:pic>
        <p:nvPicPr>
          <p:cNvPr id="9" name="Picture 8" descr="Plot showing almost no difference between full forces and Hellman-Feynman forces for H2.">
            <a:extLst>
              <a:ext uri="{FF2B5EF4-FFF2-40B4-BE49-F238E27FC236}">
                <a16:creationId xmlns:a16="http://schemas.microsoft.com/office/drawing/2014/main" id="{6419087C-E6FD-4D6D-987B-7964343381C0}"/>
              </a:ext>
            </a:extLst>
          </p:cNvPr>
          <p:cNvPicPr>
            <a:picLocks noChangeAspect="1"/>
          </p:cNvPicPr>
          <p:nvPr/>
        </p:nvPicPr>
        <p:blipFill>
          <a:blip r:embed="rId3"/>
          <a:stretch>
            <a:fillRect/>
          </a:stretch>
        </p:blipFill>
        <p:spPr>
          <a:xfrm>
            <a:off x="953065" y="750472"/>
            <a:ext cx="2756649" cy="3256041"/>
          </a:xfrm>
          <a:prstGeom prst="rect">
            <a:avLst/>
          </a:prstGeom>
        </p:spPr>
      </p:pic>
      <p:sp>
        <p:nvSpPr>
          <p:cNvPr id="10" name="TextBox 9">
            <a:extLst>
              <a:ext uri="{FF2B5EF4-FFF2-40B4-BE49-F238E27FC236}">
                <a16:creationId xmlns:a16="http://schemas.microsoft.com/office/drawing/2014/main" id="{CA7573CB-939D-4B3A-953A-C9A46B5EF002}"/>
              </a:ext>
            </a:extLst>
          </p:cNvPr>
          <p:cNvSpPr txBox="1"/>
          <p:nvPr/>
        </p:nvSpPr>
        <p:spPr>
          <a:xfrm>
            <a:off x="90779" y="4097082"/>
            <a:ext cx="4481221" cy="553998"/>
          </a:xfrm>
          <a:prstGeom prst="rect">
            <a:avLst/>
          </a:prstGeom>
          <a:noFill/>
        </p:spPr>
        <p:txBody>
          <a:bodyPr wrap="square" lIns="0" tIns="0" rIns="0" bIns="0" rtlCol="0">
            <a:spAutoFit/>
          </a:bodyPr>
          <a:lstStyle/>
          <a:p>
            <a:r>
              <a:rPr lang="en-US" sz="1200" dirty="0"/>
              <a:t>Sokolov, I.O. </a:t>
            </a:r>
            <a:r>
              <a:rPr lang="en-US" sz="1200" i="1" dirty="0"/>
              <a:t>et al</a:t>
            </a:r>
            <a:r>
              <a:rPr lang="en-US" sz="1200" dirty="0"/>
              <a:t>. Microcanonical and finite-temperature </a:t>
            </a:r>
            <a:r>
              <a:rPr lang="en-US" sz="1200" i="1" dirty="0"/>
              <a:t>ab initio</a:t>
            </a:r>
            <a:r>
              <a:rPr lang="en-US" sz="1200" dirty="0"/>
              <a:t> molecular dynamics simulations on quantum computers. </a:t>
            </a:r>
            <a:r>
              <a:rPr lang="en-US" sz="1200" i="1" dirty="0"/>
              <a:t>Phys. Rev. Research </a:t>
            </a:r>
            <a:r>
              <a:rPr lang="en-US" sz="1200" dirty="0"/>
              <a:t>(2021) 3, 013125 doi:10.1103/PhysRevResearch.3.013125</a:t>
            </a:r>
          </a:p>
        </p:txBody>
      </p:sp>
      <p:sp>
        <p:nvSpPr>
          <p:cNvPr id="11" name="TextBox 10">
            <a:extLst>
              <a:ext uri="{FF2B5EF4-FFF2-40B4-BE49-F238E27FC236}">
                <a16:creationId xmlns:a16="http://schemas.microsoft.com/office/drawing/2014/main" id="{FF78510E-C96B-4BB7-BF2B-D97407074B08}"/>
              </a:ext>
            </a:extLst>
          </p:cNvPr>
          <p:cNvSpPr txBox="1"/>
          <p:nvPr/>
        </p:nvSpPr>
        <p:spPr>
          <a:xfrm>
            <a:off x="4857098" y="4298930"/>
            <a:ext cx="3993775" cy="553998"/>
          </a:xfrm>
          <a:prstGeom prst="rect">
            <a:avLst/>
          </a:prstGeom>
          <a:noFill/>
        </p:spPr>
        <p:txBody>
          <a:bodyPr wrap="square" lIns="0" tIns="0" rIns="0" bIns="0" rtlCol="0">
            <a:spAutoFit/>
          </a:bodyPr>
          <a:lstStyle/>
          <a:p>
            <a:r>
              <a:rPr lang="en-US" sz="1200" dirty="0" err="1"/>
              <a:t>Pulay</a:t>
            </a:r>
            <a:r>
              <a:rPr lang="en-US" sz="1200" dirty="0"/>
              <a:t>, P. </a:t>
            </a:r>
            <a:r>
              <a:rPr lang="en-US" sz="1200" i="1" dirty="0"/>
              <a:t>Ab initio </a:t>
            </a:r>
            <a:r>
              <a:rPr lang="en-US" sz="1200" dirty="0"/>
              <a:t>calculation of force constants and equilibrium geometries in polyatomic molecules. </a:t>
            </a:r>
            <a:r>
              <a:rPr lang="en-US" sz="1200" i="1" dirty="0"/>
              <a:t>Mol. Phys </a:t>
            </a:r>
            <a:r>
              <a:rPr lang="en-US" sz="1200" dirty="0"/>
              <a:t>(1970) 18:4, 473-480. doi:10.1080/00268977000100541</a:t>
            </a:r>
          </a:p>
        </p:txBody>
      </p:sp>
      <p:sp>
        <p:nvSpPr>
          <p:cNvPr id="12" name="TextBox 11">
            <a:extLst>
              <a:ext uri="{FF2B5EF4-FFF2-40B4-BE49-F238E27FC236}">
                <a16:creationId xmlns:a16="http://schemas.microsoft.com/office/drawing/2014/main" id="{2E29C54A-8DE1-47A4-90B2-8F6E015FA691}"/>
              </a:ext>
            </a:extLst>
          </p:cNvPr>
          <p:cNvSpPr txBox="1"/>
          <p:nvPr/>
        </p:nvSpPr>
        <p:spPr>
          <a:xfrm>
            <a:off x="2719346" y="2115409"/>
            <a:ext cx="3713259" cy="307777"/>
          </a:xfrm>
          <a:prstGeom prst="rect">
            <a:avLst/>
          </a:prstGeom>
          <a:noFill/>
        </p:spPr>
        <p:txBody>
          <a:bodyPr wrap="square" lIns="0" tIns="0" rIns="0" bIns="0" rtlCol="0">
            <a:spAutoFit/>
          </a:bodyPr>
          <a:lstStyle/>
          <a:p>
            <a:r>
              <a:rPr lang="en-US" sz="2000" dirty="0">
                <a:solidFill>
                  <a:srgbClr val="003366"/>
                </a:solidFill>
                <a:highlight>
                  <a:srgbClr val="99CCFF"/>
                </a:highlight>
              </a:rPr>
              <a:t>As always, system dependent…</a:t>
            </a:r>
          </a:p>
        </p:txBody>
      </p:sp>
    </p:spTree>
    <p:extLst>
      <p:ext uri="{BB962C8B-B14F-4D97-AF65-F5344CB8AC3E}">
        <p14:creationId xmlns:p14="http://schemas.microsoft.com/office/powerpoint/2010/main" val="2889606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D2B9FEB2-3C21-4A73-A231-BFF9A7F694CB}"/>
                  </a:ext>
                </a:extLst>
              </p:cNvPr>
              <p:cNvSpPr>
                <a:spLocks noGrp="1"/>
              </p:cNvSpPr>
              <p:nvPr>
                <p:ph idx="1"/>
              </p:nvPr>
            </p:nvSpPr>
            <p:spPr>
              <a:xfrm>
                <a:off x="367575" y="958103"/>
                <a:ext cx="8408850" cy="3394472"/>
              </a:xfrm>
            </p:spPr>
            <p:txBody>
              <a:bodyPr/>
              <a:lstStyle/>
              <a:p>
                <a:pPr marL="0" indent="0">
                  <a:buNone/>
                </a:pPr>
                <a:r>
                  <a:rPr lang="en-US" sz="1800" dirty="0"/>
                  <a:t>The energy derivative can be obtained from the </a:t>
                </a:r>
                <a:r>
                  <a:rPr lang="en-US" sz="1800" dirty="0">
                    <a:solidFill>
                      <a:srgbClr val="336699"/>
                    </a:solidFill>
                  </a:rPr>
                  <a:t>total derivative </a:t>
                </a:r>
                <a:r>
                  <a:rPr lang="en-US" sz="1800" dirty="0"/>
                  <a:t>of the Hamiltonian.</a:t>
                </a:r>
              </a:p>
              <a:p>
                <a:pPr marL="0" indent="0">
                  <a:buNone/>
                </a:pPr>
                <a14:m>
                  <m:oMathPara xmlns:m="http://schemas.openxmlformats.org/officeDocument/2006/math">
                    <m:oMathParaPr>
                      <m:jc m:val="centerGroup"/>
                    </m:oMathParaPr>
                    <m:oMath xmlns:m="http://schemas.openxmlformats.org/officeDocument/2006/math">
                      <m:f>
                        <m:fPr>
                          <m:ctrlPr>
                            <a:rPr lang="en-US" sz="1600" i="1" smtClean="0">
                              <a:latin typeface="Cambria Math" panose="02040503050406030204" pitchFamily="18" charset="0"/>
                            </a:rPr>
                          </m:ctrlPr>
                        </m:fPr>
                        <m:num>
                          <m:r>
                            <m:rPr>
                              <m:sty m:val="p"/>
                            </m:rPr>
                            <a:rPr lang="en-US" sz="1600" b="0" i="0" smtClean="0">
                              <a:latin typeface="Cambria Math" panose="02040503050406030204" pitchFamily="18" charset="0"/>
                            </a:rPr>
                            <m:t>d</m:t>
                          </m:r>
                          <m:r>
                            <a:rPr lang="en-US" sz="1600" b="0" i="1" smtClean="0">
                              <a:latin typeface="Cambria Math" panose="02040503050406030204" pitchFamily="18" charset="0"/>
                            </a:rPr>
                            <m:t>𝐸</m:t>
                          </m:r>
                        </m:num>
                        <m:den>
                          <m:r>
                            <m:rPr>
                              <m:sty m:val="p"/>
                            </m:rPr>
                            <a:rPr lang="en-US" sz="1600" b="0" i="0" smtClean="0">
                              <a:latin typeface="Cambria Math" panose="02040503050406030204" pitchFamily="18" charset="0"/>
                            </a:rPr>
                            <m:t>d</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𝑅</m:t>
                              </m:r>
                            </m:e>
                            <m:sub>
                              <m:r>
                                <a:rPr lang="en-US" sz="1600" b="0" i="1" smtClean="0">
                                  <a:latin typeface="Cambria Math" panose="02040503050406030204" pitchFamily="18" charset="0"/>
                                </a:rPr>
                                <m:t>𝐼</m:t>
                              </m:r>
                            </m:sub>
                          </m:sSub>
                        </m:den>
                      </m:f>
                      <m:r>
                        <a:rPr lang="en-US" sz="1600" b="0" i="1" smtClean="0">
                          <a:latin typeface="Cambria Math" panose="02040503050406030204" pitchFamily="18" charset="0"/>
                        </a:rPr>
                        <m:t>=</m:t>
                      </m:r>
                      <m:d>
                        <m:dPr>
                          <m:begChr m:val="⟨"/>
                          <m:endChr m:val="⟩"/>
                          <m:ctrlPr>
                            <a:rPr lang="en-US" sz="1600" b="0" i="1" smtClean="0">
                              <a:latin typeface="Cambria Math" panose="02040503050406030204" pitchFamily="18" charset="0"/>
                            </a:rPr>
                          </m:ctrlPr>
                        </m:dPr>
                        <m:e>
                          <m:r>
                            <m:rPr>
                              <m:sty m:val="p"/>
                            </m:rPr>
                            <a:rPr lang="en-US" sz="1600" b="0" i="0" smtClean="0">
                              <a:latin typeface="Cambria Math" panose="02040503050406030204" pitchFamily="18" charset="0"/>
                            </a:rPr>
                            <m:t>Ψ</m:t>
                          </m:r>
                          <m:r>
                            <a:rPr lang="en-US" sz="1600" b="0" i="1" smtClean="0">
                              <a:latin typeface="Cambria Math" panose="02040503050406030204" pitchFamily="18" charset="0"/>
                            </a:rPr>
                            <m:t>(</m:t>
                          </m:r>
                          <m:r>
                            <a:rPr lang="en-US" sz="1600" b="1" i="1" smtClean="0">
                              <a:latin typeface="Cambria Math" panose="02040503050406030204" pitchFamily="18" charset="0"/>
                            </a:rPr>
                            <m:t>𝒓</m:t>
                          </m:r>
                          <m:r>
                            <a:rPr lang="en-US" sz="1600" b="0" i="1" smtClean="0">
                              <a:latin typeface="Cambria Math" panose="02040503050406030204" pitchFamily="18" charset="0"/>
                            </a:rPr>
                            <m:t>,</m:t>
                          </m:r>
                          <m:r>
                            <a:rPr lang="en-US" sz="1600" b="1" i="1" smtClean="0">
                              <a:latin typeface="Cambria Math" panose="02040503050406030204" pitchFamily="18" charset="0"/>
                            </a:rPr>
                            <m:t>𝑹</m:t>
                          </m:r>
                          <m:r>
                            <a:rPr lang="en-US" sz="1600" b="0" i="1" smtClean="0">
                              <a:latin typeface="Cambria Math" panose="02040503050406030204" pitchFamily="18" charset="0"/>
                            </a:rPr>
                            <m:t>)</m:t>
                          </m:r>
                        </m:e>
                        <m:e>
                          <m:f>
                            <m:fPr>
                              <m:ctrlPr>
                                <a:rPr lang="en-US" sz="1600" b="0" i="1" smtClean="0">
                                  <a:latin typeface="Cambria Math" panose="02040503050406030204" pitchFamily="18" charset="0"/>
                                </a:rPr>
                              </m:ctrlPr>
                            </m:fPr>
                            <m:num>
                              <m:r>
                                <m:rPr>
                                  <m:sty m:val="p"/>
                                </m:rPr>
                                <a:rPr lang="en-US" sz="1600" b="0" i="0" smtClean="0">
                                  <a:latin typeface="Cambria Math" panose="02040503050406030204" pitchFamily="18" charset="0"/>
                                </a:rPr>
                                <m:t>d</m:t>
                              </m:r>
                              <m:r>
                                <a:rPr lang="en-US" sz="1600" b="0" i="1" smtClean="0">
                                  <a:latin typeface="Cambria Math" panose="02040503050406030204" pitchFamily="18" charset="0"/>
                                </a:rPr>
                                <m:t>𝐻</m:t>
                              </m:r>
                            </m:num>
                            <m:den>
                              <m:r>
                                <m:rPr>
                                  <m:sty m:val="p"/>
                                </m:rPr>
                                <a:rPr lang="en-US" sz="1600" b="0" i="0" smtClean="0">
                                  <a:latin typeface="Cambria Math" panose="02040503050406030204" pitchFamily="18" charset="0"/>
                                </a:rPr>
                                <m:t>d</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𝑅</m:t>
                                  </m:r>
                                </m:e>
                                <m:sub>
                                  <m:r>
                                    <a:rPr lang="en-US" sz="1600" b="0" i="1" smtClean="0">
                                      <a:latin typeface="Cambria Math" panose="02040503050406030204" pitchFamily="18" charset="0"/>
                                    </a:rPr>
                                    <m:t>𝐼</m:t>
                                  </m:r>
                                </m:sub>
                              </m:sSub>
                            </m:den>
                          </m:f>
                        </m:e>
                        <m:e>
                          <m:r>
                            <m:rPr>
                              <m:sty m:val="p"/>
                            </m:rPr>
                            <a:rPr lang="en-US" sz="1600" b="0" i="0" smtClean="0">
                              <a:latin typeface="Cambria Math" panose="02040503050406030204" pitchFamily="18" charset="0"/>
                            </a:rPr>
                            <m:t>Ψ</m:t>
                          </m:r>
                          <m:r>
                            <a:rPr lang="en-US" sz="1600" b="0" i="1" smtClean="0">
                              <a:latin typeface="Cambria Math" panose="02040503050406030204" pitchFamily="18" charset="0"/>
                            </a:rPr>
                            <m:t>(</m:t>
                          </m:r>
                          <m:r>
                            <a:rPr lang="en-US" sz="1600" b="1" i="1" smtClean="0">
                              <a:latin typeface="Cambria Math" panose="02040503050406030204" pitchFamily="18" charset="0"/>
                            </a:rPr>
                            <m:t>𝒓</m:t>
                          </m:r>
                          <m:r>
                            <a:rPr lang="en-US" sz="1600" b="0" i="1" smtClean="0">
                              <a:latin typeface="Cambria Math" panose="02040503050406030204" pitchFamily="18" charset="0"/>
                            </a:rPr>
                            <m:t>,</m:t>
                          </m:r>
                          <m:r>
                            <a:rPr lang="en-US" sz="1600" b="1" i="1" smtClean="0">
                              <a:latin typeface="Cambria Math" panose="02040503050406030204" pitchFamily="18" charset="0"/>
                            </a:rPr>
                            <m:t>𝑹</m:t>
                          </m:r>
                          <m:r>
                            <a:rPr lang="en-US" sz="1600" b="0" i="1" smtClean="0">
                              <a:latin typeface="Cambria Math" panose="02040503050406030204" pitchFamily="18" charset="0"/>
                            </a:rPr>
                            <m:t>)</m:t>
                          </m:r>
                        </m:e>
                      </m:d>
                    </m:oMath>
                  </m:oMathPara>
                </a14:m>
                <a:endParaRPr lang="en-US" sz="1600" b="0" dirty="0"/>
              </a:p>
              <a:p>
                <a:pPr marL="0" indent="0">
                  <a:buNone/>
                </a:pPr>
                <a:endParaRPr lang="en-US" sz="1800" b="0" dirty="0"/>
              </a:p>
              <a:p>
                <a:pPr marL="0" indent="0">
                  <a:buNone/>
                </a:pPr>
                <a:r>
                  <a:rPr lang="en-US" sz="1800" dirty="0"/>
                  <a:t>We consider all implicit dependencies on the nuclear positions:</a:t>
                </a:r>
              </a:p>
              <a:p>
                <a:pPr marL="0" indent="0">
                  <a:buNone/>
                </a:pPr>
                <a14:m>
                  <m:oMathPara xmlns:m="http://schemas.openxmlformats.org/officeDocument/2006/math">
                    <m:oMathParaPr>
                      <m:jc m:val="centerGroup"/>
                    </m:oMathParaPr>
                    <m:oMath xmlns:m="http://schemas.openxmlformats.org/officeDocument/2006/math">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r>
                            <a:rPr lang="en-US" sz="1600" i="1">
                              <a:latin typeface="Cambria Math" panose="02040503050406030204" pitchFamily="18" charset="0"/>
                            </a:rPr>
                            <m:t>𝐸</m:t>
                          </m:r>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r>
                        <a:rPr lang="en-US" sz="1600" b="0" i="1" smtClean="0">
                          <a:latin typeface="Cambria Math" panose="02040503050406030204" pitchFamily="18" charset="0"/>
                        </a:rPr>
                        <m:t>=</m:t>
                      </m:r>
                      <m:f>
                        <m:fPr>
                          <m:ctrlPr>
                            <a:rPr lang="en-US" sz="1600" i="1">
                              <a:latin typeface="Cambria Math" panose="02040503050406030204" pitchFamily="18" charset="0"/>
                            </a:rPr>
                          </m:ctrlPr>
                        </m:fPr>
                        <m:num>
                          <m:r>
                            <a:rPr lang="en-US" sz="1600" b="0" i="1" smtClean="0">
                              <a:latin typeface="Cambria Math" panose="02040503050406030204" pitchFamily="18" charset="0"/>
                            </a:rPr>
                            <m:t>𝜕</m:t>
                          </m:r>
                          <m:r>
                            <a:rPr lang="en-US" sz="1600" i="1">
                              <a:latin typeface="Cambria Math" panose="02040503050406030204" pitchFamily="18" charset="0"/>
                            </a:rPr>
                            <m:t>𝐸</m:t>
                          </m:r>
                        </m:num>
                        <m:den>
                          <m:r>
                            <a:rPr lang="en-US" sz="1600" b="0" i="1" smtClean="0">
                              <a:latin typeface="Cambria Math" panose="02040503050406030204" pitchFamily="18" charset="0"/>
                            </a:rPr>
                            <m:t>𝜕</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r>
                        <a:rPr lang="en-US" sz="1600" b="0" i="1" smtClean="0">
                          <a:latin typeface="Cambria Math" panose="02040503050406030204" pitchFamily="18" charset="0"/>
                        </a:rPr>
                        <m:t>+</m:t>
                      </m:r>
                      <m:f>
                        <m:fPr>
                          <m:ctrlPr>
                            <a:rPr lang="en-US" sz="1600" i="1">
                              <a:latin typeface="Cambria Math" panose="02040503050406030204" pitchFamily="18" charset="0"/>
                            </a:rPr>
                          </m:ctrlPr>
                        </m:fPr>
                        <m:num>
                          <m:r>
                            <a:rPr lang="en-US" sz="1600" b="0" i="1" smtClean="0">
                              <a:latin typeface="Cambria Math" panose="02040503050406030204" pitchFamily="18" charset="0"/>
                            </a:rPr>
                            <m:t>𝜕</m:t>
                          </m:r>
                          <m:r>
                            <a:rPr lang="en-US" sz="1600" i="1">
                              <a:latin typeface="Cambria Math" panose="02040503050406030204" pitchFamily="18" charset="0"/>
                            </a:rPr>
                            <m:t>𝐸</m:t>
                          </m:r>
                        </m:num>
                        <m:den>
                          <m:r>
                            <a:rPr lang="en-US" sz="1600" b="0" i="1" smtClean="0">
                              <a:latin typeface="Cambria Math" panose="02040503050406030204" pitchFamily="18" charset="0"/>
                            </a:rPr>
                            <m:t>𝜕</m:t>
                          </m:r>
                          <m:r>
                            <a:rPr lang="en-US" sz="1600" b="1" i="1" smtClean="0">
                              <a:latin typeface="Cambria Math" panose="02040503050406030204" pitchFamily="18" charset="0"/>
                            </a:rPr>
                            <m:t>𝒉</m:t>
                          </m:r>
                        </m:den>
                      </m:f>
                      <m:f>
                        <m:fPr>
                          <m:ctrlPr>
                            <a:rPr lang="en-US" sz="1600" i="1">
                              <a:latin typeface="Cambria Math" panose="02040503050406030204" pitchFamily="18" charset="0"/>
                            </a:rPr>
                          </m:ctrlPr>
                        </m:fPr>
                        <m:num>
                          <m:r>
                            <a:rPr lang="en-US" sz="1600" b="0" i="1" smtClean="0">
                              <a:latin typeface="Cambria Math" panose="02040503050406030204" pitchFamily="18" charset="0"/>
                            </a:rPr>
                            <m:t>𝜕</m:t>
                          </m:r>
                          <m:r>
                            <a:rPr lang="en-US" sz="1600" b="1" i="1" smtClean="0">
                              <a:latin typeface="Cambria Math" panose="02040503050406030204" pitchFamily="18" charset="0"/>
                            </a:rPr>
                            <m:t>𝒉</m:t>
                          </m:r>
                        </m:num>
                        <m:den>
                          <m:r>
                            <a:rPr lang="en-US" sz="1600" b="0" i="1" smtClean="0">
                              <a:latin typeface="Cambria Math" panose="02040503050406030204" pitchFamily="18" charset="0"/>
                            </a:rPr>
                            <m:t>𝜕</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r>
                        <a:rPr lang="en-US" sz="1600" b="0" i="1" smtClean="0">
                          <a:latin typeface="Cambria Math" panose="02040503050406030204" pitchFamily="18" charset="0"/>
                        </a:rPr>
                        <m:t>+</m:t>
                      </m:r>
                      <m:f>
                        <m:fPr>
                          <m:ctrlPr>
                            <a:rPr lang="en-US" sz="1600" i="1">
                              <a:latin typeface="Cambria Math" panose="02040503050406030204" pitchFamily="18" charset="0"/>
                            </a:rPr>
                          </m:ctrlPr>
                        </m:fPr>
                        <m:num>
                          <m:r>
                            <a:rPr lang="en-US" sz="1600" i="1">
                              <a:latin typeface="Cambria Math" panose="02040503050406030204" pitchFamily="18" charset="0"/>
                            </a:rPr>
                            <m:t>𝜕</m:t>
                          </m:r>
                          <m:r>
                            <a:rPr lang="en-US" sz="1600" i="1">
                              <a:latin typeface="Cambria Math" panose="02040503050406030204" pitchFamily="18" charset="0"/>
                            </a:rPr>
                            <m:t>𝐸</m:t>
                          </m:r>
                        </m:num>
                        <m:den>
                          <m:r>
                            <a:rPr lang="en-US" sz="1600" i="1">
                              <a:latin typeface="Cambria Math" panose="02040503050406030204" pitchFamily="18" charset="0"/>
                            </a:rPr>
                            <m:t>𝜕</m:t>
                          </m:r>
                          <m:r>
                            <a:rPr lang="en-US" sz="1600" b="1" i="1" smtClean="0">
                              <a:latin typeface="Cambria Math" panose="02040503050406030204" pitchFamily="18" charset="0"/>
                            </a:rPr>
                            <m:t>𝒈</m:t>
                          </m:r>
                        </m:den>
                      </m:f>
                      <m:f>
                        <m:fPr>
                          <m:ctrlPr>
                            <a:rPr lang="en-US" sz="1600" i="1">
                              <a:latin typeface="Cambria Math" panose="02040503050406030204" pitchFamily="18" charset="0"/>
                            </a:rPr>
                          </m:ctrlPr>
                        </m:fPr>
                        <m:num>
                          <m:r>
                            <a:rPr lang="en-US" sz="1600" i="1">
                              <a:latin typeface="Cambria Math" panose="02040503050406030204" pitchFamily="18" charset="0"/>
                            </a:rPr>
                            <m:t>𝜕</m:t>
                          </m:r>
                          <m:r>
                            <a:rPr lang="en-US" sz="1600" b="1" i="1" smtClean="0">
                              <a:latin typeface="Cambria Math" panose="02040503050406030204" pitchFamily="18" charset="0"/>
                            </a:rPr>
                            <m:t>𝒈</m:t>
                          </m:r>
                        </m:num>
                        <m:den>
                          <m:r>
                            <a:rPr lang="en-US" sz="1600" i="1">
                              <a:latin typeface="Cambria Math" panose="02040503050406030204" pitchFamily="18" charset="0"/>
                            </a:rPr>
                            <m:t>𝜕</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r>
                        <a:rPr lang="en-US" sz="1600" b="0" i="1" smtClean="0">
                          <a:latin typeface="Cambria Math" panose="02040503050406030204" pitchFamily="18" charset="0"/>
                        </a:rPr>
                        <m:t>+</m:t>
                      </m:r>
                      <m:f>
                        <m:fPr>
                          <m:ctrlPr>
                            <a:rPr lang="en-US" sz="1600" i="1">
                              <a:latin typeface="Cambria Math" panose="02040503050406030204" pitchFamily="18" charset="0"/>
                            </a:rPr>
                          </m:ctrlPr>
                        </m:fPr>
                        <m:num>
                          <m:r>
                            <a:rPr lang="en-US" sz="1600" i="1">
                              <a:latin typeface="Cambria Math" panose="02040503050406030204" pitchFamily="18" charset="0"/>
                            </a:rPr>
                            <m:t>𝜕</m:t>
                          </m:r>
                          <m:r>
                            <a:rPr lang="en-US" sz="1600" i="1">
                              <a:latin typeface="Cambria Math" panose="02040503050406030204" pitchFamily="18" charset="0"/>
                            </a:rPr>
                            <m:t>𝐸</m:t>
                          </m:r>
                        </m:num>
                        <m:den>
                          <m:r>
                            <a:rPr lang="en-US" sz="1600" i="1">
                              <a:latin typeface="Cambria Math" panose="02040503050406030204" pitchFamily="18" charset="0"/>
                            </a:rPr>
                            <m:t>𝜕</m:t>
                          </m:r>
                          <m:r>
                            <a:rPr lang="en-US" sz="1600" b="1" i="1" smtClean="0">
                              <a:latin typeface="Cambria Math" panose="02040503050406030204" pitchFamily="18" charset="0"/>
                            </a:rPr>
                            <m:t>𝜿</m:t>
                          </m:r>
                        </m:den>
                      </m:f>
                      <m:f>
                        <m:fPr>
                          <m:ctrlPr>
                            <a:rPr lang="en-US" sz="1600" i="1">
                              <a:latin typeface="Cambria Math" panose="02040503050406030204" pitchFamily="18" charset="0"/>
                            </a:rPr>
                          </m:ctrlPr>
                        </m:fPr>
                        <m:num>
                          <m:r>
                            <a:rPr lang="en-US" sz="1600" i="1">
                              <a:latin typeface="Cambria Math" panose="02040503050406030204" pitchFamily="18" charset="0"/>
                            </a:rPr>
                            <m:t>𝜕</m:t>
                          </m:r>
                          <m:r>
                            <a:rPr lang="en-US" sz="1600" b="1" i="1" smtClean="0">
                              <a:latin typeface="Cambria Math" panose="02040503050406030204" pitchFamily="18" charset="0"/>
                            </a:rPr>
                            <m:t>𝜿</m:t>
                          </m:r>
                        </m:num>
                        <m:den>
                          <m:r>
                            <a:rPr lang="en-US" sz="1600" i="1">
                              <a:latin typeface="Cambria Math" panose="02040503050406030204" pitchFamily="18" charset="0"/>
                            </a:rPr>
                            <m:t>𝜕</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r>
                        <a:rPr lang="en-US" sz="1600" b="0" i="1" smtClean="0">
                          <a:latin typeface="Cambria Math" panose="02040503050406030204" pitchFamily="18" charset="0"/>
                        </a:rPr>
                        <m:t>+</m:t>
                      </m:r>
                      <m:f>
                        <m:fPr>
                          <m:ctrlPr>
                            <a:rPr lang="en-US" sz="1600" i="1">
                              <a:latin typeface="Cambria Math" panose="02040503050406030204" pitchFamily="18" charset="0"/>
                            </a:rPr>
                          </m:ctrlPr>
                        </m:fPr>
                        <m:num>
                          <m:r>
                            <a:rPr lang="en-US" sz="1600" i="1">
                              <a:latin typeface="Cambria Math" panose="02040503050406030204" pitchFamily="18" charset="0"/>
                            </a:rPr>
                            <m:t>𝜕</m:t>
                          </m:r>
                          <m:r>
                            <a:rPr lang="en-US" sz="1600" i="1">
                              <a:latin typeface="Cambria Math" panose="02040503050406030204" pitchFamily="18" charset="0"/>
                            </a:rPr>
                            <m:t>𝐸</m:t>
                          </m:r>
                        </m:num>
                        <m:den>
                          <m:r>
                            <a:rPr lang="en-US" sz="1600" i="1">
                              <a:latin typeface="Cambria Math" panose="02040503050406030204" pitchFamily="18" charset="0"/>
                            </a:rPr>
                            <m:t>𝜕</m:t>
                          </m:r>
                          <m:r>
                            <a:rPr lang="en-US" sz="1600" b="1" i="1" smtClean="0">
                              <a:latin typeface="Cambria Math" panose="02040503050406030204" pitchFamily="18" charset="0"/>
                            </a:rPr>
                            <m:t>𝜽</m:t>
                          </m:r>
                        </m:den>
                      </m:f>
                      <m:f>
                        <m:fPr>
                          <m:ctrlPr>
                            <a:rPr lang="en-US" sz="1600" i="1">
                              <a:latin typeface="Cambria Math" panose="02040503050406030204" pitchFamily="18" charset="0"/>
                            </a:rPr>
                          </m:ctrlPr>
                        </m:fPr>
                        <m:num>
                          <m:r>
                            <a:rPr lang="en-US" sz="1600" i="1" smtClean="0">
                              <a:latin typeface="Cambria Math" panose="02040503050406030204" pitchFamily="18" charset="0"/>
                            </a:rPr>
                            <m:t>𝜕</m:t>
                          </m:r>
                          <m:r>
                            <a:rPr lang="en-US" sz="1600" b="1" i="1" smtClean="0">
                              <a:latin typeface="Cambria Math" panose="02040503050406030204" pitchFamily="18" charset="0"/>
                            </a:rPr>
                            <m:t>𝜽</m:t>
                          </m:r>
                        </m:num>
                        <m:den>
                          <m:r>
                            <a:rPr lang="en-US" sz="1600" i="1">
                              <a:latin typeface="Cambria Math" panose="02040503050406030204" pitchFamily="18" charset="0"/>
                            </a:rPr>
                            <m:t>𝜕</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r>
                        <a:rPr lang="en-US" sz="1600" b="0" i="1" smtClean="0">
                          <a:latin typeface="Cambria Math" panose="02040503050406030204" pitchFamily="18" charset="0"/>
                        </a:rPr>
                        <m:t>+</m:t>
                      </m:r>
                      <m:f>
                        <m:fPr>
                          <m:ctrlPr>
                            <a:rPr lang="en-US" sz="1600" i="1">
                              <a:latin typeface="Cambria Math" panose="02040503050406030204" pitchFamily="18" charset="0"/>
                            </a:rPr>
                          </m:ctrlPr>
                        </m:fPr>
                        <m:num>
                          <m:r>
                            <a:rPr lang="en-US" sz="1600" i="1">
                              <a:latin typeface="Cambria Math" panose="02040503050406030204" pitchFamily="18" charset="0"/>
                            </a:rPr>
                            <m:t>𝜕</m:t>
                          </m:r>
                          <m:r>
                            <a:rPr lang="en-US" sz="1600" i="1">
                              <a:latin typeface="Cambria Math" panose="02040503050406030204" pitchFamily="18" charset="0"/>
                            </a:rPr>
                            <m:t>𝐸</m:t>
                          </m:r>
                        </m:num>
                        <m:den>
                          <m:r>
                            <a:rPr lang="en-US" sz="1600" i="1">
                              <a:latin typeface="Cambria Math" panose="02040503050406030204" pitchFamily="18" charset="0"/>
                            </a:rPr>
                            <m:t>𝜕</m:t>
                          </m:r>
                          <m:r>
                            <a:rPr lang="en-US" sz="1600" b="1" i="1" smtClean="0">
                              <a:latin typeface="Cambria Math" panose="02040503050406030204" pitchFamily="18" charset="0"/>
                            </a:rPr>
                            <m:t>𝑺</m:t>
                          </m:r>
                        </m:den>
                      </m:f>
                      <m:f>
                        <m:fPr>
                          <m:ctrlPr>
                            <a:rPr lang="en-US" sz="1600" i="1">
                              <a:latin typeface="Cambria Math" panose="02040503050406030204" pitchFamily="18" charset="0"/>
                            </a:rPr>
                          </m:ctrlPr>
                        </m:fPr>
                        <m:num>
                          <m:r>
                            <a:rPr lang="en-US" sz="1600" i="1">
                              <a:latin typeface="Cambria Math" panose="02040503050406030204" pitchFamily="18" charset="0"/>
                            </a:rPr>
                            <m:t>𝜕</m:t>
                          </m:r>
                          <m:r>
                            <a:rPr lang="en-US" sz="1600" b="1" i="1" smtClean="0">
                              <a:latin typeface="Cambria Math" panose="02040503050406030204" pitchFamily="18" charset="0"/>
                            </a:rPr>
                            <m:t>𝑺</m:t>
                          </m:r>
                        </m:num>
                        <m:den>
                          <m:r>
                            <a:rPr lang="en-US" sz="1600" i="1">
                              <a:latin typeface="Cambria Math" panose="02040503050406030204" pitchFamily="18" charset="0"/>
                            </a:rPr>
                            <m:t>𝜕</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oMath>
                  </m:oMathPara>
                </a14:m>
                <a:endParaRPr lang="en-US" sz="1600" dirty="0"/>
              </a:p>
              <a:p>
                <a:pPr marL="0" indent="0">
                  <a:buNone/>
                </a:pPr>
                <a:r>
                  <a:rPr lang="en-US" sz="1800" dirty="0"/>
                  <a:t>with </a:t>
                </a:r>
                <a14:m>
                  <m:oMath xmlns:m="http://schemas.openxmlformats.org/officeDocument/2006/math">
                    <m:r>
                      <a:rPr lang="en-US" sz="1800" b="1" i="1" smtClean="0">
                        <a:latin typeface="Cambria Math" panose="02040503050406030204" pitchFamily="18" charset="0"/>
                      </a:rPr>
                      <m:t>𝒉</m:t>
                    </m:r>
                    <m:r>
                      <a:rPr lang="en-US" sz="1800" b="1" i="1" smtClean="0">
                        <a:latin typeface="Cambria Math" panose="02040503050406030204" pitchFamily="18" charset="0"/>
                      </a:rPr>
                      <m:t>, </m:t>
                    </m:r>
                    <m:r>
                      <a:rPr lang="en-US" sz="1800" b="1" i="1" smtClean="0">
                        <a:latin typeface="Cambria Math" panose="02040503050406030204" pitchFamily="18" charset="0"/>
                      </a:rPr>
                      <m:t>𝒈</m:t>
                    </m:r>
                  </m:oMath>
                </a14:m>
                <a:r>
                  <a:rPr lang="en-US" sz="1800" b="1" dirty="0"/>
                  <a:t> </a:t>
                </a:r>
                <a:r>
                  <a:rPr lang="en-US" sz="1800" dirty="0"/>
                  <a:t>the 1- and 2-body matrix elements, </a:t>
                </a:r>
                <a14:m>
                  <m:oMath xmlns:m="http://schemas.openxmlformats.org/officeDocument/2006/math">
                    <m:r>
                      <a:rPr lang="en-US" sz="1800" b="1" i="1" smtClean="0">
                        <a:latin typeface="Cambria Math" panose="02040503050406030204" pitchFamily="18" charset="0"/>
                      </a:rPr>
                      <m:t>𝜿</m:t>
                    </m:r>
                  </m:oMath>
                </a14:m>
                <a:r>
                  <a:rPr lang="en-US" sz="1800" b="1" dirty="0"/>
                  <a:t> </a:t>
                </a:r>
                <a:r>
                  <a:rPr lang="en-US" sz="1800" dirty="0"/>
                  <a:t>the HF orbital rotation coefficients, </a:t>
                </a:r>
                <a14:m>
                  <m:oMath xmlns:m="http://schemas.openxmlformats.org/officeDocument/2006/math">
                    <m:r>
                      <a:rPr lang="en-US" sz="1800" b="1" i="1" smtClean="0">
                        <a:latin typeface="Cambria Math" panose="02040503050406030204" pitchFamily="18" charset="0"/>
                      </a:rPr>
                      <m:t>𝜽</m:t>
                    </m:r>
                  </m:oMath>
                </a14:m>
                <a:r>
                  <a:rPr lang="en-US" sz="1800" b="1" dirty="0"/>
                  <a:t> </a:t>
                </a:r>
                <a:r>
                  <a:rPr lang="en-US" sz="1800" dirty="0"/>
                  <a:t>the wave function parameters and </a:t>
                </a:r>
                <a14:m>
                  <m:oMath xmlns:m="http://schemas.openxmlformats.org/officeDocument/2006/math">
                    <m:r>
                      <a:rPr lang="en-US" sz="1800" b="1" i="1" smtClean="0">
                        <a:latin typeface="Cambria Math" panose="02040503050406030204" pitchFamily="18" charset="0"/>
                      </a:rPr>
                      <m:t>𝑺</m:t>
                    </m:r>
                  </m:oMath>
                </a14:m>
                <a:r>
                  <a:rPr lang="en-US" sz="1800" b="1" dirty="0"/>
                  <a:t> </a:t>
                </a:r>
                <a:r>
                  <a:rPr lang="en-US" sz="1800" dirty="0"/>
                  <a:t>the orbital overlap matrix.</a:t>
                </a:r>
              </a:p>
              <a:p>
                <a:pPr marL="0" indent="0">
                  <a:buNone/>
                </a:pPr>
                <a:r>
                  <a:rPr lang="en-US" sz="1800" dirty="0">
                    <a:latin typeface="+mn-lt"/>
                  </a:rPr>
                  <a:t>At a variational solution that is also orbital optimized</a:t>
                </a:r>
              </a:p>
              <a:p>
                <a:pPr marL="0" indent="0">
                  <a:buNone/>
                </a:pPr>
                <a14:m>
                  <m:oMathPara xmlns:m="http://schemas.openxmlformats.org/officeDocument/2006/math">
                    <m:oMathParaPr>
                      <m:jc m:val="centerGroup"/>
                    </m:oMathParaPr>
                    <m:oMath xmlns:m="http://schemas.openxmlformats.org/officeDocument/2006/math">
                      <m:f>
                        <m:fPr>
                          <m:ctrlPr>
                            <a:rPr lang="en-US" sz="1600" b="0" i="1" smtClean="0">
                              <a:latin typeface="Cambria Math" panose="02040503050406030204" pitchFamily="18" charset="0"/>
                            </a:rPr>
                          </m:ctrlPr>
                        </m:fPr>
                        <m:num>
                          <m:r>
                            <a:rPr lang="en-US" sz="1600" b="0" i="1" smtClean="0">
                              <a:latin typeface="Cambria Math" panose="02040503050406030204" pitchFamily="18" charset="0"/>
                            </a:rPr>
                            <m:t>𝜕</m:t>
                          </m:r>
                          <m:r>
                            <a:rPr lang="en-US" sz="1600" b="0" i="1" smtClean="0">
                              <a:latin typeface="Cambria Math" panose="02040503050406030204" pitchFamily="18" charset="0"/>
                            </a:rPr>
                            <m:t>𝐸</m:t>
                          </m:r>
                        </m:num>
                        <m:den>
                          <m:r>
                            <a:rPr lang="en-US" sz="1600" b="0" i="1" smtClean="0">
                              <a:latin typeface="Cambria Math" panose="02040503050406030204" pitchFamily="18" charset="0"/>
                            </a:rPr>
                            <m:t>𝜕</m:t>
                          </m:r>
                          <m:r>
                            <a:rPr lang="en-US" sz="1600" b="1" i="1" smtClean="0">
                              <a:latin typeface="Cambria Math" panose="02040503050406030204" pitchFamily="18" charset="0"/>
                            </a:rPr>
                            <m:t>𝜿</m:t>
                          </m:r>
                        </m:den>
                      </m:f>
                      <m:r>
                        <a:rPr lang="en-US" sz="1600" b="0" i="1" smtClean="0">
                          <a:latin typeface="Cambria Math" panose="02040503050406030204" pitchFamily="18" charset="0"/>
                        </a:rPr>
                        <m:t>=</m:t>
                      </m:r>
                      <m:f>
                        <m:fPr>
                          <m:ctrlPr>
                            <a:rPr lang="en-US" sz="1600" b="0" i="1" smtClean="0">
                              <a:latin typeface="Cambria Math" panose="02040503050406030204" pitchFamily="18" charset="0"/>
                            </a:rPr>
                          </m:ctrlPr>
                        </m:fPr>
                        <m:num>
                          <m:r>
                            <a:rPr lang="en-US" sz="1600" b="0" i="1" smtClean="0">
                              <a:latin typeface="Cambria Math" panose="02040503050406030204" pitchFamily="18" charset="0"/>
                            </a:rPr>
                            <m:t>𝜕</m:t>
                          </m:r>
                          <m:r>
                            <a:rPr lang="en-US" sz="1600" b="0" i="1" smtClean="0">
                              <a:latin typeface="Cambria Math" panose="02040503050406030204" pitchFamily="18" charset="0"/>
                            </a:rPr>
                            <m:t>𝐸</m:t>
                          </m:r>
                        </m:num>
                        <m:den>
                          <m:r>
                            <a:rPr lang="en-US" sz="1600" b="0" i="1" smtClean="0">
                              <a:latin typeface="Cambria Math" panose="02040503050406030204" pitchFamily="18" charset="0"/>
                            </a:rPr>
                            <m:t>𝜕</m:t>
                          </m:r>
                          <m:r>
                            <a:rPr lang="en-US" sz="1600" b="1" i="1" smtClean="0">
                              <a:latin typeface="Cambria Math" panose="02040503050406030204" pitchFamily="18" charset="0"/>
                            </a:rPr>
                            <m:t>𝜽</m:t>
                          </m:r>
                        </m:den>
                      </m:f>
                      <m:r>
                        <a:rPr lang="en-US" sz="1600" b="0" i="1" smtClean="0">
                          <a:latin typeface="Cambria Math" panose="02040503050406030204" pitchFamily="18" charset="0"/>
                        </a:rPr>
                        <m:t>=0</m:t>
                      </m:r>
                    </m:oMath>
                  </m:oMathPara>
                </a14:m>
                <a:endParaRPr lang="en-US" sz="1600" b="0" dirty="0">
                  <a:latin typeface="Cambria Math" panose="02040503050406030204" pitchFamily="18" charset="0"/>
                </a:endParaRPr>
              </a:p>
              <a:p>
                <a:pPr marL="0" indent="0">
                  <a:buNone/>
                </a:pPr>
                <a:r>
                  <a:rPr lang="en-US" sz="1800" dirty="0">
                    <a:latin typeface="Cambria Math" panose="02040503050406030204" pitchFamily="18" charset="0"/>
                  </a:rPr>
                  <a:t>If not, a </a:t>
                </a:r>
                <a:r>
                  <a:rPr lang="en-US" sz="1800" dirty="0" err="1">
                    <a:latin typeface="Cambria Math" panose="02040503050406030204" pitchFamily="18" charset="0"/>
                  </a:rPr>
                  <a:t>Lagrangian</a:t>
                </a:r>
                <a:r>
                  <a:rPr lang="en-US" sz="1800" dirty="0">
                    <a:latin typeface="Cambria Math" panose="02040503050406030204" pitchFamily="18" charset="0"/>
                  </a:rPr>
                  <a:t> approach is needed to enforce the correct values.</a:t>
                </a:r>
                <a:endParaRPr lang="en-US" sz="1800" b="0" dirty="0">
                  <a:latin typeface="Cambria Math" panose="02040503050406030204" pitchFamily="18" charset="0"/>
                </a:endParaRPr>
              </a:p>
              <a:p>
                <a:pPr marL="0" indent="0">
                  <a:buNone/>
                </a:pPr>
                <a:endParaRPr lang="en-US" sz="1800" b="1" dirty="0"/>
              </a:p>
            </p:txBody>
          </p:sp>
        </mc:Choice>
        <mc:Fallback xmlns="">
          <p:sp>
            <p:nvSpPr>
              <p:cNvPr id="2" name="Content Placeholder 1">
                <a:extLst>
                  <a:ext uri="{FF2B5EF4-FFF2-40B4-BE49-F238E27FC236}">
                    <a16:creationId xmlns:a16="http://schemas.microsoft.com/office/drawing/2014/main" id="{D2B9FEB2-3C21-4A73-A231-BFF9A7F694CB}"/>
                  </a:ext>
                </a:extLst>
              </p:cNvPr>
              <p:cNvSpPr>
                <a:spLocks noGrp="1" noRot="1" noChangeAspect="1" noMove="1" noResize="1" noEditPoints="1" noAdjustHandles="1" noChangeArrowheads="1" noChangeShapeType="1" noTextEdit="1"/>
              </p:cNvSpPr>
              <p:nvPr>
                <p:ph idx="1"/>
              </p:nvPr>
            </p:nvSpPr>
            <p:spPr>
              <a:xfrm>
                <a:off x="367575" y="958103"/>
                <a:ext cx="8408850" cy="3394472"/>
              </a:xfrm>
              <a:blipFill>
                <a:blip r:embed="rId2"/>
                <a:stretch>
                  <a:fillRect l="-1667" t="-2334" b="-11670"/>
                </a:stretch>
              </a:blipFill>
            </p:spPr>
            <p:txBody>
              <a:bodyPr/>
              <a:lstStyle/>
              <a:p>
                <a:r>
                  <a:rPr lang="en-US">
                    <a:noFill/>
                  </a:rPr>
                  <a:t> </a:t>
                </a:r>
              </a:p>
            </p:txBody>
          </p:sp>
        </mc:Fallback>
      </mc:AlternateContent>
      <p:sp>
        <p:nvSpPr>
          <p:cNvPr id="4" name="Slide Number Placeholder 3">
            <a:extLst>
              <a:ext uri="{FF2B5EF4-FFF2-40B4-BE49-F238E27FC236}">
                <a16:creationId xmlns:a16="http://schemas.microsoft.com/office/drawing/2014/main" id="{C0C49467-CD00-4BFD-B805-45AB5D66C60C}"/>
              </a:ext>
            </a:extLst>
          </p:cNvPr>
          <p:cNvSpPr>
            <a:spLocks noGrp="1"/>
          </p:cNvSpPr>
          <p:nvPr>
            <p:ph type="sldNum" sz="quarter" idx="12"/>
          </p:nvPr>
        </p:nvSpPr>
        <p:spPr/>
        <p:txBody>
          <a:bodyPr/>
          <a:lstStyle/>
          <a:p>
            <a:fld id="{143B55C4-4F5A-416B-997D-6CE47EB0A945}" type="slidenum">
              <a:rPr lang="en-GB" noProof="0" smtClean="0"/>
              <a:t>21</a:t>
            </a:fld>
            <a:endParaRPr lang="en-GB" noProof="0" dirty="0"/>
          </a:p>
        </p:txBody>
      </p:sp>
      <p:sp>
        <p:nvSpPr>
          <p:cNvPr id="5" name="Title 4">
            <a:extLst>
              <a:ext uri="{FF2B5EF4-FFF2-40B4-BE49-F238E27FC236}">
                <a16:creationId xmlns:a16="http://schemas.microsoft.com/office/drawing/2014/main" id="{A5021E82-E63E-4094-A2C7-22CA0867FD12}"/>
              </a:ext>
            </a:extLst>
          </p:cNvPr>
          <p:cNvSpPr>
            <a:spLocks noGrp="1"/>
          </p:cNvSpPr>
          <p:nvPr>
            <p:ph type="title"/>
          </p:nvPr>
        </p:nvSpPr>
        <p:spPr/>
        <p:txBody>
          <a:bodyPr/>
          <a:lstStyle/>
          <a:p>
            <a:r>
              <a:rPr lang="en-US" dirty="0"/>
              <a:t>Analytical derivatives</a:t>
            </a:r>
          </a:p>
        </p:txBody>
      </p:sp>
    </p:spTree>
    <p:extLst>
      <p:ext uri="{BB962C8B-B14F-4D97-AF65-F5344CB8AC3E}">
        <p14:creationId xmlns:p14="http://schemas.microsoft.com/office/powerpoint/2010/main" val="114348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D2B9FEB2-3C21-4A73-A231-BFF9A7F694CB}"/>
                  </a:ext>
                </a:extLst>
              </p:cNvPr>
              <p:cNvSpPr>
                <a:spLocks noGrp="1"/>
              </p:cNvSpPr>
              <p:nvPr>
                <p:ph idx="1"/>
              </p:nvPr>
            </p:nvSpPr>
            <p:spPr>
              <a:xfrm>
                <a:off x="367575" y="877420"/>
                <a:ext cx="8408850" cy="3394472"/>
              </a:xfrm>
            </p:spPr>
            <p:txBody>
              <a:bodyPr/>
              <a:lstStyle/>
              <a:p>
                <a:pPr marL="0" indent="0">
                  <a:buNone/>
                </a:pPr>
                <a:r>
                  <a:rPr lang="en-US" sz="1800" b="0" dirty="0">
                    <a:latin typeface="+mn-lt"/>
                  </a:rPr>
                  <a:t>The energy expression gives the dependence on the 1- and 2-body matrix elements with MO orbitals </a:t>
                </a:r>
                <a14:m>
                  <m:oMath xmlns:m="http://schemas.openxmlformats.org/officeDocument/2006/math">
                    <m:r>
                      <a:rPr lang="en-US" sz="1800" b="0" i="1" smtClean="0">
                        <a:latin typeface="Cambria Math" panose="02040503050406030204" pitchFamily="18" charset="0"/>
                      </a:rPr>
                      <m:t>𝑝</m:t>
                    </m:r>
                    <m:r>
                      <a:rPr lang="en-US" sz="1800" b="0" i="1" smtClean="0">
                        <a:latin typeface="Cambria Math" panose="02040503050406030204" pitchFamily="18" charset="0"/>
                      </a:rPr>
                      <m:t>,</m:t>
                    </m:r>
                    <m:r>
                      <a:rPr lang="en-US" sz="1800" b="0" i="1" smtClean="0">
                        <a:latin typeface="Cambria Math" panose="02040503050406030204" pitchFamily="18" charset="0"/>
                      </a:rPr>
                      <m:t>𝑞</m:t>
                    </m:r>
                    <m:r>
                      <a:rPr lang="en-US" sz="1800" b="0" i="1" smtClean="0">
                        <a:latin typeface="Cambria Math" panose="02040503050406030204" pitchFamily="18" charset="0"/>
                      </a:rPr>
                      <m:t>,</m:t>
                    </m:r>
                    <m:r>
                      <a:rPr lang="en-US" sz="1800" b="0" i="1" smtClean="0">
                        <a:latin typeface="Cambria Math" panose="02040503050406030204" pitchFamily="18" charset="0"/>
                      </a:rPr>
                      <m:t>𝑟</m:t>
                    </m:r>
                    <m:r>
                      <a:rPr lang="en-US" sz="1800" b="0" i="1" smtClean="0">
                        <a:latin typeface="Cambria Math" panose="02040503050406030204" pitchFamily="18" charset="0"/>
                      </a:rPr>
                      <m:t>,</m:t>
                    </m:r>
                    <m:r>
                      <a:rPr lang="en-US" sz="1800" b="0" i="1" smtClean="0">
                        <a:latin typeface="Cambria Math" panose="02040503050406030204" pitchFamily="18" charset="0"/>
                      </a:rPr>
                      <m:t>𝑠</m:t>
                    </m:r>
                  </m:oMath>
                </a14:m>
                <a:r>
                  <a:rPr lang="en-US" sz="1800" b="0" dirty="0">
                    <a:latin typeface="+mn-lt"/>
                  </a:rPr>
                  <a:t> and AO orbitals </a:t>
                </a:r>
                <a14:m>
                  <m:oMath xmlns:m="http://schemas.openxmlformats.org/officeDocument/2006/math">
                    <m:r>
                      <a:rPr lang="en-US" sz="1800" b="0" i="1" smtClean="0">
                        <a:latin typeface="Cambria Math" panose="02040503050406030204" pitchFamily="18" charset="0"/>
                      </a:rPr>
                      <m:t>𝜇</m:t>
                    </m:r>
                    <m:r>
                      <a:rPr lang="en-US" sz="1800" b="0" i="1" smtClean="0">
                        <a:latin typeface="Cambria Math" panose="02040503050406030204" pitchFamily="18" charset="0"/>
                      </a:rPr>
                      <m:t>,</m:t>
                    </m:r>
                    <m:r>
                      <a:rPr lang="en-US" sz="1800" b="0" i="1" smtClean="0">
                        <a:latin typeface="Cambria Math" panose="02040503050406030204" pitchFamily="18" charset="0"/>
                      </a:rPr>
                      <m:t>𝜈</m:t>
                    </m:r>
                    <m:r>
                      <a:rPr lang="en-US" sz="1800" b="0" i="1" smtClean="0">
                        <a:latin typeface="Cambria Math" panose="02040503050406030204" pitchFamily="18" charset="0"/>
                      </a:rPr>
                      <m:t>,</m:t>
                    </m:r>
                    <m:r>
                      <a:rPr lang="en-US" sz="1800" b="0" i="1" smtClean="0">
                        <a:latin typeface="Cambria Math" panose="02040503050406030204" pitchFamily="18" charset="0"/>
                      </a:rPr>
                      <m:t>𝜆</m:t>
                    </m:r>
                    <m:r>
                      <a:rPr lang="en-US" sz="1800" b="0" i="1" smtClean="0">
                        <a:latin typeface="Cambria Math" panose="02040503050406030204" pitchFamily="18" charset="0"/>
                      </a:rPr>
                      <m:t>,</m:t>
                    </m:r>
                    <m:r>
                      <a:rPr lang="en-US" sz="1800" b="0" i="1" smtClean="0">
                        <a:latin typeface="Cambria Math" panose="02040503050406030204" pitchFamily="18" charset="0"/>
                      </a:rPr>
                      <m:t>𝜎</m:t>
                    </m:r>
                  </m:oMath>
                </a14:m>
                <a:r>
                  <a:rPr lang="en-US" sz="1800" b="0" dirty="0">
                    <a:latin typeface="+mn-lt"/>
                  </a:rPr>
                  <a:t>:</a:t>
                </a:r>
              </a:p>
              <a:p>
                <a:pPr marL="0" indent="0">
                  <a:buNone/>
                </a:pPr>
                <a14:m>
                  <m:oMathPara xmlns:m="http://schemas.openxmlformats.org/officeDocument/2006/math">
                    <m:oMathParaPr>
                      <m:jc m:val="centerGroup"/>
                    </m:oMathParaPr>
                    <m:oMath xmlns:m="http://schemas.openxmlformats.org/officeDocument/2006/math">
                      <m:r>
                        <a:rPr lang="en-US" sz="1600" b="0" i="1" smtClean="0">
                          <a:latin typeface="Cambria Math" panose="02040503050406030204" pitchFamily="18" charset="0"/>
                        </a:rPr>
                        <m:t>𝐸</m:t>
                      </m:r>
                      <m:r>
                        <a:rPr lang="en-US" sz="1600" b="0" i="1" smtClean="0">
                          <a:latin typeface="Cambria Math" panose="02040503050406030204" pitchFamily="18" charset="0"/>
                        </a:rPr>
                        <m:t>=</m:t>
                      </m:r>
                      <m:nary>
                        <m:naryPr>
                          <m:chr m:val="∑"/>
                          <m:supHide m:val="on"/>
                          <m:ctrlPr>
                            <a:rPr lang="en-US" sz="1600" b="0" i="1" smtClean="0">
                              <a:latin typeface="Cambria Math" panose="02040503050406030204" pitchFamily="18" charset="0"/>
                            </a:rPr>
                          </m:ctrlPr>
                        </m:naryPr>
                        <m:sub>
                          <m:r>
                            <a:rPr lang="en-US" sz="1600" b="0" i="1" smtClean="0">
                              <a:latin typeface="Cambria Math" panose="02040503050406030204" pitchFamily="18" charset="0"/>
                            </a:rPr>
                            <m:t>𝑝𝑞</m:t>
                          </m:r>
                        </m:sub>
                        <m:sup/>
                        <m:e>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𝛾</m:t>
                              </m:r>
                            </m:e>
                            <m:sub>
                              <m:r>
                                <a:rPr lang="en-US" sz="1600" b="0" i="1" smtClean="0">
                                  <a:latin typeface="Cambria Math" panose="02040503050406030204" pitchFamily="18" charset="0"/>
                                </a:rPr>
                                <m:t>𝑝𝑞</m:t>
                              </m:r>
                            </m:sub>
                          </m:sSub>
                          <m:nary>
                            <m:naryPr>
                              <m:chr m:val="∑"/>
                              <m:supHide m:val="on"/>
                              <m:ctrlPr>
                                <a:rPr lang="en-US" sz="1600" b="0" i="1" smtClean="0">
                                  <a:latin typeface="Cambria Math" panose="02040503050406030204" pitchFamily="18" charset="0"/>
                                </a:rPr>
                              </m:ctrlPr>
                            </m:naryPr>
                            <m:sub>
                              <m:r>
                                <a:rPr lang="en-US" sz="1600" b="0" i="1" smtClean="0">
                                  <a:latin typeface="Cambria Math" panose="02040503050406030204" pitchFamily="18" charset="0"/>
                                </a:rPr>
                                <m:t>𝜇𝜈</m:t>
                              </m:r>
                            </m:sub>
                            <m:sup/>
                            <m:e>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𝐶</m:t>
                                  </m:r>
                                </m:e>
                                <m:sub>
                                  <m:r>
                                    <a:rPr lang="en-US" sz="1600" b="0" i="1" smtClean="0">
                                      <a:latin typeface="Cambria Math" panose="02040503050406030204" pitchFamily="18" charset="0"/>
                                    </a:rPr>
                                    <m:t>𝜇</m:t>
                                  </m:r>
                                  <m:r>
                                    <a:rPr lang="en-US" sz="1600" b="0" i="1" smtClean="0">
                                      <a:latin typeface="Cambria Math" panose="02040503050406030204" pitchFamily="18" charset="0"/>
                                    </a:rPr>
                                    <m:t>𝑝</m:t>
                                  </m:r>
                                </m:sub>
                              </m:sSub>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𝐶</m:t>
                                  </m:r>
                                </m:e>
                                <m:sub>
                                  <m:r>
                                    <a:rPr lang="en-US" sz="1600" b="0" i="1" smtClean="0">
                                      <a:latin typeface="Cambria Math" panose="02040503050406030204" pitchFamily="18" charset="0"/>
                                    </a:rPr>
                                    <m:t>𝜈</m:t>
                                  </m:r>
                                  <m:r>
                                    <a:rPr lang="en-US" sz="1600" b="0" i="1" smtClean="0">
                                      <a:latin typeface="Cambria Math" panose="02040503050406030204" pitchFamily="18" charset="0"/>
                                    </a:rPr>
                                    <m:t>𝑞</m:t>
                                  </m:r>
                                </m:sub>
                              </m:sSub>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h</m:t>
                                  </m:r>
                                </m:e>
                                <m:sub>
                                  <m:r>
                                    <a:rPr lang="en-US" sz="1600" b="0" i="1" smtClean="0">
                                      <a:latin typeface="Cambria Math" panose="02040503050406030204" pitchFamily="18" charset="0"/>
                                    </a:rPr>
                                    <m:t>𝜇𝜈</m:t>
                                  </m:r>
                                </m:sub>
                              </m:sSub>
                            </m:e>
                          </m:nary>
                        </m:e>
                      </m:nary>
                      <m:r>
                        <a:rPr lang="en-US" sz="1600" b="0" i="1" smtClean="0">
                          <a:latin typeface="Cambria Math" panose="02040503050406030204" pitchFamily="18" charset="0"/>
                        </a:rPr>
                        <m:t>+</m:t>
                      </m:r>
                      <m:nary>
                        <m:naryPr>
                          <m:chr m:val="∑"/>
                          <m:supHide m:val="on"/>
                          <m:ctrlPr>
                            <a:rPr lang="en-US" sz="1600" b="0" i="1" smtClean="0">
                              <a:latin typeface="Cambria Math" panose="02040503050406030204" pitchFamily="18" charset="0"/>
                            </a:rPr>
                          </m:ctrlPr>
                        </m:naryPr>
                        <m:sub>
                          <m:r>
                            <a:rPr lang="en-US" sz="1600" b="0" i="1" smtClean="0">
                              <a:latin typeface="Cambria Math" panose="02040503050406030204" pitchFamily="18" charset="0"/>
                            </a:rPr>
                            <m:t>𝑝𝑞𝑟𝑠</m:t>
                          </m:r>
                        </m:sub>
                        <m:sup/>
                        <m:e>
                          <m:sSub>
                            <m:sSubPr>
                              <m:ctrlPr>
                                <a:rPr lang="en-US" sz="1600" b="0" i="1" smtClean="0">
                                  <a:latin typeface="Cambria Math" panose="02040503050406030204" pitchFamily="18" charset="0"/>
                                </a:rPr>
                              </m:ctrlPr>
                            </m:sSubPr>
                            <m:e>
                              <m:r>
                                <m:rPr>
                                  <m:sty m:val="p"/>
                                </m:rPr>
                                <a:rPr lang="en-US" sz="1600" b="0" i="0" smtClean="0">
                                  <a:latin typeface="Cambria Math" panose="02040503050406030204" pitchFamily="18" charset="0"/>
                                </a:rPr>
                                <m:t>Γ</m:t>
                              </m:r>
                            </m:e>
                            <m:sub>
                              <m:r>
                                <a:rPr lang="en-US" sz="1600" b="0" i="1" smtClean="0">
                                  <a:latin typeface="Cambria Math" panose="02040503050406030204" pitchFamily="18" charset="0"/>
                                </a:rPr>
                                <m:t>𝑝𝑞𝑟𝑠</m:t>
                              </m:r>
                            </m:sub>
                          </m:sSub>
                          <m:nary>
                            <m:naryPr>
                              <m:chr m:val="∑"/>
                              <m:supHide m:val="on"/>
                              <m:ctrlPr>
                                <a:rPr lang="en-US" sz="1600" b="0" i="1" smtClean="0">
                                  <a:latin typeface="Cambria Math" panose="02040503050406030204" pitchFamily="18" charset="0"/>
                                </a:rPr>
                              </m:ctrlPr>
                            </m:naryPr>
                            <m:sub>
                              <m:r>
                                <a:rPr lang="en-US" sz="1600" b="0" i="1" smtClean="0">
                                  <a:latin typeface="Cambria Math" panose="02040503050406030204" pitchFamily="18" charset="0"/>
                                </a:rPr>
                                <m:t>𝜇𝜈𝜆𝜎</m:t>
                              </m:r>
                            </m:sub>
                            <m:sup/>
                            <m:e>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𝐶</m:t>
                                  </m:r>
                                </m:e>
                                <m:sub>
                                  <m:r>
                                    <a:rPr lang="en-US" sz="1600" b="0" i="1" smtClean="0">
                                      <a:latin typeface="Cambria Math" panose="02040503050406030204" pitchFamily="18" charset="0"/>
                                    </a:rPr>
                                    <m:t>𝜇</m:t>
                                  </m:r>
                                  <m:r>
                                    <a:rPr lang="en-US" sz="1600" b="0" i="1" smtClean="0">
                                      <a:latin typeface="Cambria Math" panose="02040503050406030204" pitchFamily="18" charset="0"/>
                                    </a:rPr>
                                    <m:t>𝑝</m:t>
                                  </m:r>
                                </m:sub>
                              </m:sSub>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𝐶</m:t>
                                  </m:r>
                                </m:e>
                                <m:sub>
                                  <m:r>
                                    <a:rPr lang="en-US" sz="1600" b="0" i="1" smtClean="0">
                                      <a:latin typeface="Cambria Math" panose="02040503050406030204" pitchFamily="18" charset="0"/>
                                    </a:rPr>
                                    <m:t>𝜈</m:t>
                                  </m:r>
                                  <m:r>
                                    <a:rPr lang="en-US" sz="1600" b="0" i="1" smtClean="0">
                                      <a:latin typeface="Cambria Math" panose="02040503050406030204" pitchFamily="18" charset="0"/>
                                    </a:rPr>
                                    <m:t>𝑞</m:t>
                                  </m:r>
                                </m:sub>
                              </m:sSub>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𝐶</m:t>
                                  </m:r>
                                </m:e>
                                <m:sub>
                                  <m:r>
                                    <a:rPr lang="en-US" sz="1600" b="0" i="1" smtClean="0">
                                      <a:latin typeface="Cambria Math" panose="02040503050406030204" pitchFamily="18" charset="0"/>
                                    </a:rPr>
                                    <m:t>𝜆</m:t>
                                  </m:r>
                                  <m:r>
                                    <a:rPr lang="en-US" sz="1600" b="0" i="1" smtClean="0">
                                      <a:latin typeface="Cambria Math" panose="02040503050406030204" pitchFamily="18" charset="0"/>
                                    </a:rPr>
                                    <m:t>𝑟</m:t>
                                  </m:r>
                                </m:sub>
                              </m:sSub>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𝐶</m:t>
                                  </m:r>
                                </m:e>
                                <m:sub>
                                  <m:r>
                                    <a:rPr lang="en-US" sz="1600" b="0" i="1" smtClean="0">
                                      <a:latin typeface="Cambria Math" panose="02040503050406030204" pitchFamily="18" charset="0"/>
                                    </a:rPr>
                                    <m:t>𝜎</m:t>
                                  </m:r>
                                  <m:r>
                                    <a:rPr lang="en-US" sz="1600" b="0" i="1" smtClean="0">
                                      <a:latin typeface="Cambria Math" panose="02040503050406030204" pitchFamily="18" charset="0"/>
                                    </a:rPr>
                                    <m:t>𝑠</m:t>
                                  </m:r>
                                </m:sub>
                              </m:sSub>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𝑔</m:t>
                                  </m:r>
                                </m:e>
                                <m:sub>
                                  <m:r>
                                    <a:rPr lang="en-US" sz="1600" b="0" i="1" smtClean="0">
                                      <a:latin typeface="Cambria Math" panose="02040503050406030204" pitchFamily="18" charset="0"/>
                                    </a:rPr>
                                    <m:t>𝜇𝜈𝜆𝜎</m:t>
                                  </m:r>
                                </m:sub>
                              </m:sSub>
                            </m:e>
                          </m:nary>
                        </m:e>
                      </m:nary>
                    </m:oMath>
                  </m:oMathPara>
                </a14:m>
                <a:endParaRPr lang="en-US" sz="1600" b="0" dirty="0"/>
              </a:p>
              <a:p>
                <a:pPr marL="0" indent="0">
                  <a:buNone/>
                </a:pPr>
                <a:endParaRPr lang="en-US" sz="1800" b="0" dirty="0"/>
              </a:p>
              <a:p>
                <a:pPr marL="0" indent="0">
                  <a:buNone/>
                </a:pPr>
                <a:r>
                  <a:rPr lang="en-US" sz="1800" dirty="0"/>
                  <a:t>such that</a:t>
                </a:r>
              </a:p>
              <a:p>
                <a:pPr marL="0" indent="0">
                  <a:buNone/>
                </a:pPr>
                <a14:m>
                  <m:oMathPara xmlns:m="http://schemas.openxmlformats.org/officeDocument/2006/math">
                    <m:oMathParaPr>
                      <m:jc m:val="centerGroup"/>
                    </m:oMathParaPr>
                    <m:oMath xmlns:m="http://schemas.openxmlformats.org/officeDocument/2006/math">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r>
                            <a:rPr lang="en-US" sz="1600" i="1">
                              <a:latin typeface="Cambria Math" panose="02040503050406030204" pitchFamily="18" charset="0"/>
                            </a:rPr>
                            <m:t>𝐸</m:t>
                          </m:r>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r>
                        <m:rPr>
                          <m:aln/>
                        </m:rPr>
                        <a:rPr lang="en-US" sz="1600" i="1">
                          <a:latin typeface="Cambria Math" panose="02040503050406030204" pitchFamily="18" charset="0"/>
                        </a:rPr>
                        <m:t>=</m:t>
                      </m:r>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𝑝𝑞</m:t>
                          </m:r>
                        </m:sub>
                        <m:sup/>
                        <m:e>
                          <m:sSub>
                            <m:sSubPr>
                              <m:ctrlPr>
                                <a:rPr lang="en-US" sz="1600" i="1">
                                  <a:latin typeface="Cambria Math" panose="02040503050406030204" pitchFamily="18" charset="0"/>
                                </a:rPr>
                              </m:ctrlPr>
                            </m:sSubPr>
                            <m:e>
                              <m:r>
                                <a:rPr lang="en-US" sz="1600" i="1">
                                  <a:latin typeface="Cambria Math" panose="02040503050406030204" pitchFamily="18" charset="0"/>
                                </a:rPr>
                                <m:t>𝛾</m:t>
                              </m:r>
                            </m:e>
                            <m:sub>
                              <m:r>
                                <a:rPr lang="en-US" sz="1600" i="1">
                                  <a:latin typeface="Cambria Math" panose="02040503050406030204" pitchFamily="18" charset="0"/>
                                </a:rPr>
                                <m:t>𝑝𝑞</m:t>
                              </m:r>
                            </m:sub>
                          </m:sSub>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𝜇𝜈</m:t>
                              </m:r>
                            </m:sub>
                            <m:sup/>
                            <m:e>
                              <m:sSub>
                                <m:sSubPr>
                                  <m:ctrlPr>
                                    <a:rPr lang="en-US" sz="1600" i="1">
                                      <a:latin typeface="Cambria Math" panose="02040503050406030204" pitchFamily="18" charset="0"/>
                                    </a:rPr>
                                  </m:ctrlPr>
                                </m:sSubPr>
                                <m:e>
                                  <m:r>
                                    <a:rPr lang="en-US" sz="1600" i="1">
                                      <a:latin typeface="Cambria Math" panose="02040503050406030204" pitchFamily="18" charset="0"/>
                                    </a:rPr>
                                    <m:t>𝐶</m:t>
                                  </m:r>
                                </m:e>
                                <m:sub>
                                  <m:r>
                                    <a:rPr lang="en-US" sz="1600" i="1">
                                      <a:latin typeface="Cambria Math" panose="02040503050406030204" pitchFamily="18" charset="0"/>
                                    </a:rPr>
                                    <m:t>𝜇</m:t>
                                  </m:r>
                                  <m:r>
                                    <a:rPr lang="en-US" sz="1600" i="1">
                                      <a:latin typeface="Cambria Math" panose="02040503050406030204" pitchFamily="18" charset="0"/>
                                    </a:rPr>
                                    <m:t>𝑝</m:t>
                                  </m:r>
                                </m:sub>
                              </m:sSub>
                              <m:sSub>
                                <m:sSubPr>
                                  <m:ctrlPr>
                                    <a:rPr lang="en-US" sz="1600" i="1">
                                      <a:latin typeface="Cambria Math" panose="02040503050406030204" pitchFamily="18" charset="0"/>
                                    </a:rPr>
                                  </m:ctrlPr>
                                </m:sSubPr>
                                <m:e>
                                  <m:r>
                                    <a:rPr lang="en-US" sz="1600" i="1">
                                      <a:latin typeface="Cambria Math" panose="02040503050406030204" pitchFamily="18" charset="0"/>
                                    </a:rPr>
                                    <m:t>𝐶</m:t>
                                  </m:r>
                                </m:e>
                                <m:sub>
                                  <m:r>
                                    <a:rPr lang="en-US" sz="1600" i="1">
                                      <a:latin typeface="Cambria Math" panose="02040503050406030204" pitchFamily="18" charset="0"/>
                                    </a:rPr>
                                    <m:t>𝜈</m:t>
                                  </m:r>
                                  <m:r>
                                    <a:rPr lang="en-US" sz="1600" i="1">
                                      <a:latin typeface="Cambria Math" panose="02040503050406030204" pitchFamily="18" charset="0"/>
                                    </a:rPr>
                                    <m:t>𝑞</m:t>
                                  </m:r>
                                </m:sub>
                              </m:sSub>
                              <m:f>
                                <m:fPr>
                                  <m:ctrlPr>
                                    <a:rPr lang="en-US" sz="1600" i="1" smtClean="0">
                                      <a:latin typeface="Cambria Math" panose="02040503050406030204" pitchFamily="18" charset="0"/>
                                    </a:rPr>
                                  </m:ctrlPr>
                                </m:fPr>
                                <m:num>
                                  <m:sSub>
                                    <m:sSubPr>
                                      <m:ctrlPr>
                                        <a:rPr lang="en-US" sz="1600" i="1">
                                          <a:latin typeface="Cambria Math" panose="02040503050406030204" pitchFamily="18" charset="0"/>
                                        </a:rPr>
                                      </m:ctrlPr>
                                    </m:sSubPr>
                                    <m:e>
                                      <m:r>
                                        <m:rPr>
                                          <m:sty m:val="p"/>
                                        </m:rPr>
                                        <a:rPr lang="en-US" sz="1600" b="0" i="0" smtClean="0">
                                          <a:latin typeface="Cambria Math" panose="02040503050406030204" pitchFamily="18" charset="0"/>
                                        </a:rPr>
                                        <m:t>d</m:t>
                                      </m:r>
                                      <m:r>
                                        <a:rPr lang="en-US" sz="1600" i="1">
                                          <a:latin typeface="Cambria Math" panose="02040503050406030204" pitchFamily="18" charset="0"/>
                                        </a:rPr>
                                        <m:t>h</m:t>
                                      </m:r>
                                    </m:e>
                                    <m:sub>
                                      <m:r>
                                        <a:rPr lang="en-US" sz="1600" i="1">
                                          <a:latin typeface="Cambria Math" panose="02040503050406030204" pitchFamily="18" charset="0"/>
                                        </a:rPr>
                                        <m:t>𝜇𝜈</m:t>
                                      </m:r>
                                    </m:sub>
                                  </m:sSub>
                                </m:num>
                                <m:den>
                                  <m:sSub>
                                    <m:sSubPr>
                                      <m:ctrlPr>
                                        <a:rPr lang="en-US" sz="1600" b="0" i="1" smtClean="0">
                                          <a:latin typeface="Cambria Math" panose="02040503050406030204" pitchFamily="18" charset="0"/>
                                        </a:rPr>
                                      </m:ctrlPr>
                                    </m:sSubPr>
                                    <m:e>
                                      <m:r>
                                        <m:rPr>
                                          <m:sty m:val="p"/>
                                        </m:rPr>
                                        <a:rPr lang="en-US" sz="1600" b="0" i="0" smtClean="0">
                                          <a:latin typeface="Cambria Math" panose="02040503050406030204" pitchFamily="18" charset="0"/>
                                        </a:rPr>
                                        <m:t>dR</m:t>
                                      </m:r>
                                    </m:e>
                                    <m:sub>
                                      <m:r>
                                        <m:rPr>
                                          <m:sty m:val="p"/>
                                        </m:rPr>
                                        <a:rPr lang="en-US" sz="1600" b="0" i="0" smtClean="0">
                                          <a:latin typeface="Cambria Math" panose="02040503050406030204" pitchFamily="18" charset="0"/>
                                        </a:rPr>
                                        <m:t>I</m:t>
                                      </m:r>
                                    </m:sub>
                                  </m:sSub>
                                </m:den>
                              </m:f>
                            </m:e>
                          </m:nary>
                        </m:e>
                      </m:nary>
                      <m:r>
                        <a:rPr lang="en-US" sz="1600" i="1">
                          <a:latin typeface="Cambria Math" panose="02040503050406030204" pitchFamily="18" charset="0"/>
                        </a:rPr>
                        <m:t>+</m:t>
                      </m:r>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𝑝𝑞𝑟𝑠</m:t>
                          </m:r>
                        </m:sub>
                        <m:sup/>
                        <m:e>
                          <m:sSub>
                            <m:sSubPr>
                              <m:ctrlPr>
                                <a:rPr lang="en-US" sz="1600" i="1">
                                  <a:latin typeface="Cambria Math" panose="02040503050406030204" pitchFamily="18" charset="0"/>
                                </a:rPr>
                              </m:ctrlPr>
                            </m:sSubPr>
                            <m:e>
                              <m:r>
                                <m:rPr>
                                  <m:sty m:val="p"/>
                                </m:rPr>
                                <a:rPr lang="en-US" sz="1600">
                                  <a:latin typeface="Cambria Math" panose="02040503050406030204" pitchFamily="18" charset="0"/>
                                </a:rPr>
                                <m:t>Γ</m:t>
                              </m:r>
                            </m:e>
                            <m:sub>
                              <m:r>
                                <a:rPr lang="en-US" sz="1600" i="1">
                                  <a:latin typeface="Cambria Math" panose="02040503050406030204" pitchFamily="18" charset="0"/>
                                </a:rPr>
                                <m:t>𝑝𝑞𝑟𝑠</m:t>
                              </m:r>
                            </m:sub>
                          </m:sSub>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𝜇𝜈𝜆𝜎</m:t>
                              </m:r>
                            </m:sub>
                            <m:sup/>
                            <m:e>
                              <m:sSub>
                                <m:sSubPr>
                                  <m:ctrlPr>
                                    <a:rPr lang="en-US" sz="1600" i="1">
                                      <a:latin typeface="Cambria Math" panose="02040503050406030204" pitchFamily="18" charset="0"/>
                                    </a:rPr>
                                  </m:ctrlPr>
                                </m:sSubPr>
                                <m:e>
                                  <m:r>
                                    <a:rPr lang="en-US" sz="1600" i="1">
                                      <a:latin typeface="Cambria Math" panose="02040503050406030204" pitchFamily="18" charset="0"/>
                                    </a:rPr>
                                    <m:t>𝐶</m:t>
                                  </m:r>
                                </m:e>
                                <m:sub>
                                  <m:r>
                                    <a:rPr lang="en-US" sz="1600" i="1">
                                      <a:latin typeface="Cambria Math" panose="02040503050406030204" pitchFamily="18" charset="0"/>
                                    </a:rPr>
                                    <m:t>𝜇</m:t>
                                  </m:r>
                                  <m:r>
                                    <a:rPr lang="en-US" sz="1600" i="1">
                                      <a:latin typeface="Cambria Math" panose="02040503050406030204" pitchFamily="18" charset="0"/>
                                    </a:rPr>
                                    <m:t>𝑝</m:t>
                                  </m:r>
                                </m:sub>
                              </m:sSub>
                              <m:sSub>
                                <m:sSubPr>
                                  <m:ctrlPr>
                                    <a:rPr lang="en-US" sz="1600" i="1">
                                      <a:latin typeface="Cambria Math" panose="02040503050406030204" pitchFamily="18" charset="0"/>
                                    </a:rPr>
                                  </m:ctrlPr>
                                </m:sSubPr>
                                <m:e>
                                  <m:r>
                                    <a:rPr lang="en-US" sz="1600" i="1">
                                      <a:latin typeface="Cambria Math" panose="02040503050406030204" pitchFamily="18" charset="0"/>
                                    </a:rPr>
                                    <m:t>𝐶</m:t>
                                  </m:r>
                                </m:e>
                                <m:sub>
                                  <m:r>
                                    <a:rPr lang="en-US" sz="1600" i="1">
                                      <a:latin typeface="Cambria Math" panose="02040503050406030204" pitchFamily="18" charset="0"/>
                                    </a:rPr>
                                    <m:t>𝜈</m:t>
                                  </m:r>
                                  <m:r>
                                    <a:rPr lang="en-US" sz="1600" i="1">
                                      <a:latin typeface="Cambria Math" panose="02040503050406030204" pitchFamily="18" charset="0"/>
                                    </a:rPr>
                                    <m:t>𝑞</m:t>
                                  </m:r>
                                </m:sub>
                              </m:sSub>
                              <m:sSub>
                                <m:sSubPr>
                                  <m:ctrlPr>
                                    <a:rPr lang="en-US" sz="1600" i="1">
                                      <a:latin typeface="Cambria Math" panose="02040503050406030204" pitchFamily="18" charset="0"/>
                                    </a:rPr>
                                  </m:ctrlPr>
                                </m:sSubPr>
                                <m:e>
                                  <m:r>
                                    <a:rPr lang="en-US" sz="1600" i="1">
                                      <a:latin typeface="Cambria Math" panose="02040503050406030204" pitchFamily="18" charset="0"/>
                                    </a:rPr>
                                    <m:t>𝐶</m:t>
                                  </m:r>
                                </m:e>
                                <m:sub>
                                  <m:r>
                                    <a:rPr lang="en-US" sz="1600" i="1">
                                      <a:latin typeface="Cambria Math" panose="02040503050406030204" pitchFamily="18" charset="0"/>
                                    </a:rPr>
                                    <m:t>𝜆</m:t>
                                  </m:r>
                                  <m:r>
                                    <a:rPr lang="en-US" sz="1600" i="1">
                                      <a:latin typeface="Cambria Math" panose="02040503050406030204" pitchFamily="18" charset="0"/>
                                    </a:rPr>
                                    <m:t>𝑟</m:t>
                                  </m:r>
                                </m:sub>
                              </m:sSub>
                              <m:sSub>
                                <m:sSubPr>
                                  <m:ctrlPr>
                                    <a:rPr lang="en-US" sz="1600" i="1">
                                      <a:latin typeface="Cambria Math" panose="02040503050406030204" pitchFamily="18" charset="0"/>
                                    </a:rPr>
                                  </m:ctrlPr>
                                </m:sSubPr>
                                <m:e>
                                  <m:r>
                                    <a:rPr lang="en-US" sz="1600" i="1">
                                      <a:latin typeface="Cambria Math" panose="02040503050406030204" pitchFamily="18" charset="0"/>
                                    </a:rPr>
                                    <m:t>𝐶</m:t>
                                  </m:r>
                                </m:e>
                                <m:sub>
                                  <m:r>
                                    <a:rPr lang="en-US" sz="1600" i="1">
                                      <a:latin typeface="Cambria Math" panose="02040503050406030204" pitchFamily="18" charset="0"/>
                                    </a:rPr>
                                    <m:t>𝜎</m:t>
                                  </m:r>
                                  <m:r>
                                    <a:rPr lang="en-US" sz="1600" i="1">
                                      <a:latin typeface="Cambria Math" panose="02040503050406030204" pitchFamily="18" charset="0"/>
                                    </a:rPr>
                                    <m:t>𝑠</m:t>
                                  </m:r>
                                </m:sub>
                              </m:sSub>
                              <m:f>
                                <m:fPr>
                                  <m:ctrlPr>
                                    <a:rPr lang="en-US" sz="1600" i="1" smtClean="0">
                                      <a:latin typeface="Cambria Math" panose="02040503050406030204" pitchFamily="18" charset="0"/>
                                    </a:rPr>
                                  </m:ctrlPr>
                                </m:fPr>
                                <m:num>
                                  <m:r>
                                    <m:rPr>
                                      <m:sty m:val="p"/>
                                    </m:rPr>
                                    <a:rPr lang="en-US" sz="1600" b="0" i="0" smtClean="0">
                                      <a:latin typeface="Cambria Math" panose="02040503050406030204" pitchFamily="18" charset="0"/>
                                    </a:rPr>
                                    <m:t>d</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𝑔</m:t>
                                      </m:r>
                                    </m:e>
                                    <m:sub>
                                      <m:r>
                                        <a:rPr lang="en-US" sz="1600" b="0" i="1" smtClean="0">
                                          <a:latin typeface="Cambria Math" panose="02040503050406030204" pitchFamily="18" charset="0"/>
                                        </a:rPr>
                                        <m:t>𝜇𝜈𝜆𝜎</m:t>
                                      </m:r>
                                    </m:sub>
                                  </m:sSub>
                                </m:num>
                                <m:den>
                                  <m:r>
                                    <m:rPr>
                                      <m:sty m:val="p"/>
                                    </m:rPr>
                                    <a:rPr lang="en-US" sz="1600" b="0" i="0" smtClean="0">
                                      <a:latin typeface="Cambria Math" panose="02040503050406030204" pitchFamily="18" charset="0"/>
                                    </a:rPr>
                                    <m:t>d</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𝑅</m:t>
                                      </m:r>
                                    </m:e>
                                    <m:sub>
                                      <m:r>
                                        <a:rPr lang="en-US" sz="1600" b="0" i="1" smtClean="0">
                                          <a:latin typeface="Cambria Math" panose="02040503050406030204" pitchFamily="18" charset="0"/>
                                        </a:rPr>
                                        <m:t>𝐼</m:t>
                                      </m:r>
                                    </m:sub>
                                  </m:sSub>
                                </m:den>
                              </m:f>
                            </m:e>
                          </m:nary>
                        </m:e>
                      </m:nary>
                      <m:r>
                        <a:rPr lang="en-US" sz="1600" i="1">
                          <a:latin typeface="Cambria Math" panose="02040503050406030204" pitchFamily="18" charset="0"/>
                        </a:rPr>
                        <m:t>+</m:t>
                      </m:r>
                      <m:f>
                        <m:fPr>
                          <m:ctrlPr>
                            <a:rPr lang="en-US" sz="1600" i="1">
                              <a:latin typeface="Cambria Math" panose="02040503050406030204" pitchFamily="18" charset="0"/>
                            </a:rPr>
                          </m:ctrlPr>
                        </m:fPr>
                        <m:num>
                          <m:r>
                            <a:rPr lang="en-US" sz="1600" i="1">
                              <a:latin typeface="Cambria Math" panose="02040503050406030204" pitchFamily="18" charset="0"/>
                            </a:rPr>
                            <m:t>𝜕</m:t>
                          </m:r>
                          <m:r>
                            <a:rPr lang="en-US" sz="1600" i="1">
                              <a:latin typeface="Cambria Math" panose="02040503050406030204" pitchFamily="18" charset="0"/>
                            </a:rPr>
                            <m:t>𝐸</m:t>
                          </m:r>
                        </m:num>
                        <m:den>
                          <m:r>
                            <a:rPr lang="en-US" sz="1600" i="1">
                              <a:latin typeface="Cambria Math" panose="02040503050406030204" pitchFamily="18" charset="0"/>
                            </a:rPr>
                            <m:t>𝜕</m:t>
                          </m:r>
                          <m:r>
                            <a:rPr lang="en-US" sz="1600" b="1" i="1">
                              <a:latin typeface="Cambria Math" panose="02040503050406030204" pitchFamily="18" charset="0"/>
                            </a:rPr>
                            <m:t>𝑺</m:t>
                          </m:r>
                        </m:den>
                      </m:f>
                      <m:f>
                        <m:fPr>
                          <m:ctrlPr>
                            <a:rPr lang="en-US" sz="1600" i="1">
                              <a:latin typeface="Cambria Math" panose="02040503050406030204" pitchFamily="18" charset="0"/>
                            </a:rPr>
                          </m:ctrlPr>
                        </m:fPr>
                        <m:num>
                          <m:r>
                            <a:rPr lang="en-US" sz="1600" i="1">
                              <a:latin typeface="Cambria Math" panose="02040503050406030204" pitchFamily="18" charset="0"/>
                            </a:rPr>
                            <m:t>𝜕</m:t>
                          </m:r>
                          <m:r>
                            <a:rPr lang="en-US" sz="1600" b="1" i="1">
                              <a:latin typeface="Cambria Math" panose="02040503050406030204" pitchFamily="18" charset="0"/>
                            </a:rPr>
                            <m:t>𝑺</m:t>
                          </m:r>
                        </m:num>
                        <m:den>
                          <m:r>
                            <a:rPr lang="en-US" sz="1600" i="1">
                              <a:latin typeface="Cambria Math" panose="02040503050406030204" pitchFamily="18" charset="0"/>
                            </a:rPr>
                            <m:t>𝜕</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oMath>
                    <m:oMath xmlns:m="http://schemas.openxmlformats.org/officeDocument/2006/math">
                      <m:r>
                        <m:rPr>
                          <m:aln/>
                        </m:rPr>
                        <a:rPr lang="en-US" sz="1600" b="0" i="1" smtClean="0">
                          <a:latin typeface="Cambria Math" panose="02040503050406030204" pitchFamily="18" charset="0"/>
                        </a:rPr>
                        <m:t>=</m:t>
                      </m:r>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𝑝𝑞</m:t>
                          </m:r>
                        </m:sub>
                        <m:sup/>
                        <m:e>
                          <m:sSub>
                            <m:sSubPr>
                              <m:ctrlPr>
                                <a:rPr lang="en-US" sz="1600" i="1">
                                  <a:latin typeface="Cambria Math" panose="02040503050406030204" pitchFamily="18" charset="0"/>
                                </a:rPr>
                              </m:ctrlPr>
                            </m:sSubPr>
                            <m:e>
                              <m:r>
                                <a:rPr lang="en-US" sz="1600" i="1">
                                  <a:latin typeface="Cambria Math" panose="02040503050406030204" pitchFamily="18" charset="0"/>
                                </a:rPr>
                                <m:t>𝛾</m:t>
                              </m:r>
                            </m:e>
                            <m:sub>
                              <m:r>
                                <a:rPr lang="en-US" sz="1600" i="1">
                                  <a:latin typeface="Cambria Math" panose="02040503050406030204" pitchFamily="18" charset="0"/>
                                </a:rPr>
                                <m:t>𝑝𝑞</m:t>
                              </m:r>
                            </m:sub>
                          </m:sSub>
                          <m:f>
                            <m:fPr>
                              <m:ctrlPr>
                                <a:rPr lang="en-US" sz="1600" i="1">
                                  <a:latin typeface="Cambria Math" panose="02040503050406030204" pitchFamily="18" charset="0"/>
                                </a:rPr>
                              </m:ctrlPr>
                            </m:fPr>
                            <m:num>
                              <m:sSub>
                                <m:sSubPr>
                                  <m:ctrlPr>
                                    <a:rPr lang="en-US" sz="1600" i="1">
                                      <a:latin typeface="Cambria Math" panose="02040503050406030204" pitchFamily="18" charset="0"/>
                                    </a:rPr>
                                  </m:ctrlPr>
                                </m:sSubPr>
                                <m:e>
                                  <m:r>
                                    <m:rPr>
                                      <m:sty m:val="p"/>
                                    </m:rPr>
                                    <a:rPr lang="en-US" sz="1600">
                                      <a:latin typeface="Cambria Math" panose="02040503050406030204" pitchFamily="18" charset="0"/>
                                    </a:rPr>
                                    <m:t>d</m:t>
                                  </m:r>
                                  <m:r>
                                    <a:rPr lang="en-US" sz="1600" i="1">
                                      <a:latin typeface="Cambria Math" panose="02040503050406030204" pitchFamily="18" charset="0"/>
                                    </a:rPr>
                                    <m:t>h</m:t>
                                  </m:r>
                                </m:e>
                                <m:sub>
                                  <m:r>
                                    <a:rPr lang="en-US" sz="1600" b="0" i="1" smtClean="0">
                                      <a:latin typeface="Cambria Math" panose="02040503050406030204" pitchFamily="18" charset="0"/>
                                    </a:rPr>
                                    <m:t>𝑝𝑞</m:t>
                                  </m:r>
                                </m:sub>
                              </m:sSub>
                            </m:num>
                            <m:den>
                              <m:sSub>
                                <m:sSubPr>
                                  <m:ctrlPr>
                                    <a:rPr lang="en-US" sz="1600" i="1">
                                      <a:latin typeface="Cambria Math" panose="02040503050406030204" pitchFamily="18" charset="0"/>
                                    </a:rPr>
                                  </m:ctrlPr>
                                </m:sSubPr>
                                <m:e>
                                  <m:r>
                                    <m:rPr>
                                      <m:sty m:val="p"/>
                                    </m:rPr>
                                    <a:rPr lang="en-US" sz="1600">
                                      <a:latin typeface="Cambria Math" panose="02040503050406030204" pitchFamily="18" charset="0"/>
                                    </a:rPr>
                                    <m:t>dR</m:t>
                                  </m:r>
                                </m:e>
                                <m:sub>
                                  <m:r>
                                    <m:rPr>
                                      <m:sty m:val="p"/>
                                    </m:rPr>
                                    <a:rPr lang="en-US" sz="1600">
                                      <a:latin typeface="Cambria Math" panose="02040503050406030204" pitchFamily="18" charset="0"/>
                                    </a:rPr>
                                    <m:t>I</m:t>
                                  </m:r>
                                </m:sub>
                              </m:sSub>
                            </m:den>
                          </m:f>
                        </m:e>
                      </m:nary>
                      <m:r>
                        <a:rPr lang="en-US" sz="1600" i="1">
                          <a:latin typeface="Cambria Math" panose="02040503050406030204" pitchFamily="18" charset="0"/>
                        </a:rPr>
                        <m:t>+</m:t>
                      </m:r>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𝑝𝑞𝑟𝑠</m:t>
                          </m:r>
                        </m:sub>
                        <m:sup/>
                        <m:e>
                          <m:sSub>
                            <m:sSubPr>
                              <m:ctrlPr>
                                <a:rPr lang="en-US" sz="1600" i="1">
                                  <a:latin typeface="Cambria Math" panose="02040503050406030204" pitchFamily="18" charset="0"/>
                                </a:rPr>
                              </m:ctrlPr>
                            </m:sSubPr>
                            <m:e>
                              <m:r>
                                <m:rPr>
                                  <m:sty m:val="p"/>
                                </m:rPr>
                                <a:rPr lang="en-US" sz="1600">
                                  <a:latin typeface="Cambria Math" panose="02040503050406030204" pitchFamily="18" charset="0"/>
                                </a:rPr>
                                <m:t>Γ</m:t>
                              </m:r>
                            </m:e>
                            <m:sub>
                              <m:r>
                                <a:rPr lang="en-US" sz="1600" i="1">
                                  <a:latin typeface="Cambria Math" panose="02040503050406030204" pitchFamily="18" charset="0"/>
                                </a:rPr>
                                <m:t>𝑝𝑞𝑟𝑠</m:t>
                              </m:r>
                            </m:sub>
                          </m:sSub>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𝑔</m:t>
                                  </m:r>
                                </m:e>
                                <m:sub>
                                  <m:r>
                                    <a:rPr lang="en-US" sz="1600" b="0" i="1" smtClean="0">
                                      <a:latin typeface="Cambria Math" panose="02040503050406030204" pitchFamily="18" charset="0"/>
                                    </a:rPr>
                                    <m:t>𝑝𝑞𝑟𝑠</m:t>
                                  </m:r>
                                </m:sub>
                              </m:sSub>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e>
                      </m:nary>
                      <m:r>
                        <a:rPr lang="en-US" sz="1600" i="1">
                          <a:latin typeface="Cambria Math" panose="02040503050406030204" pitchFamily="18" charset="0"/>
                        </a:rPr>
                        <m:t>+</m:t>
                      </m:r>
                      <m:f>
                        <m:fPr>
                          <m:ctrlPr>
                            <a:rPr lang="en-US" sz="1600" i="1">
                              <a:latin typeface="Cambria Math" panose="02040503050406030204" pitchFamily="18" charset="0"/>
                            </a:rPr>
                          </m:ctrlPr>
                        </m:fPr>
                        <m:num>
                          <m:r>
                            <a:rPr lang="en-US" sz="1600" i="1">
                              <a:latin typeface="Cambria Math" panose="02040503050406030204" pitchFamily="18" charset="0"/>
                            </a:rPr>
                            <m:t>𝜕</m:t>
                          </m:r>
                          <m:r>
                            <a:rPr lang="en-US" sz="1600" i="1">
                              <a:latin typeface="Cambria Math" panose="02040503050406030204" pitchFamily="18" charset="0"/>
                            </a:rPr>
                            <m:t>𝐸</m:t>
                          </m:r>
                        </m:num>
                        <m:den>
                          <m:r>
                            <a:rPr lang="en-US" sz="1600" i="1">
                              <a:latin typeface="Cambria Math" panose="02040503050406030204" pitchFamily="18" charset="0"/>
                            </a:rPr>
                            <m:t>𝜕</m:t>
                          </m:r>
                          <m:r>
                            <a:rPr lang="en-US" sz="1600" b="1" i="1">
                              <a:latin typeface="Cambria Math" panose="02040503050406030204" pitchFamily="18" charset="0"/>
                            </a:rPr>
                            <m:t>𝑺</m:t>
                          </m:r>
                        </m:den>
                      </m:f>
                      <m:f>
                        <m:fPr>
                          <m:ctrlPr>
                            <a:rPr lang="en-US" sz="1600" i="1">
                              <a:latin typeface="Cambria Math" panose="02040503050406030204" pitchFamily="18" charset="0"/>
                            </a:rPr>
                          </m:ctrlPr>
                        </m:fPr>
                        <m:num>
                          <m:r>
                            <a:rPr lang="en-US" sz="1600" i="1">
                              <a:latin typeface="Cambria Math" panose="02040503050406030204" pitchFamily="18" charset="0"/>
                            </a:rPr>
                            <m:t>𝜕</m:t>
                          </m:r>
                          <m:r>
                            <a:rPr lang="en-US" sz="1600" b="1" i="1">
                              <a:latin typeface="Cambria Math" panose="02040503050406030204" pitchFamily="18" charset="0"/>
                            </a:rPr>
                            <m:t>𝑺</m:t>
                          </m:r>
                        </m:num>
                        <m:den>
                          <m:r>
                            <a:rPr lang="en-US" sz="1600" i="1">
                              <a:latin typeface="Cambria Math" panose="02040503050406030204" pitchFamily="18" charset="0"/>
                            </a:rPr>
                            <m:t>𝜕</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oMath>
                  </m:oMathPara>
                </a14:m>
                <a:endParaRPr lang="en-US" sz="1600" dirty="0"/>
              </a:p>
            </p:txBody>
          </p:sp>
        </mc:Choice>
        <mc:Fallback xmlns="">
          <p:sp>
            <p:nvSpPr>
              <p:cNvPr id="2" name="Content Placeholder 1">
                <a:extLst>
                  <a:ext uri="{FF2B5EF4-FFF2-40B4-BE49-F238E27FC236}">
                    <a16:creationId xmlns:a16="http://schemas.microsoft.com/office/drawing/2014/main" id="{D2B9FEB2-3C21-4A73-A231-BFF9A7F694CB}"/>
                  </a:ext>
                </a:extLst>
              </p:cNvPr>
              <p:cNvSpPr>
                <a:spLocks noGrp="1" noRot="1" noChangeAspect="1" noMove="1" noResize="1" noEditPoints="1" noAdjustHandles="1" noChangeArrowheads="1" noChangeShapeType="1" noTextEdit="1"/>
              </p:cNvSpPr>
              <p:nvPr>
                <p:ph idx="1"/>
              </p:nvPr>
            </p:nvSpPr>
            <p:spPr>
              <a:xfrm>
                <a:off x="367575" y="877420"/>
                <a:ext cx="8408850" cy="3394472"/>
              </a:xfrm>
              <a:blipFill>
                <a:blip r:embed="rId2"/>
                <a:stretch>
                  <a:fillRect l="-1667" t="-2334"/>
                </a:stretch>
              </a:blipFill>
            </p:spPr>
            <p:txBody>
              <a:bodyPr/>
              <a:lstStyle/>
              <a:p>
                <a:r>
                  <a:rPr lang="en-US">
                    <a:noFill/>
                  </a:rPr>
                  <a:t> </a:t>
                </a:r>
              </a:p>
            </p:txBody>
          </p:sp>
        </mc:Fallback>
      </mc:AlternateContent>
      <p:sp>
        <p:nvSpPr>
          <p:cNvPr id="4" name="Slide Number Placeholder 3">
            <a:extLst>
              <a:ext uri="{FF2B5EF4-FFF2-40B4-BE49-F238E27FC236}">
                <a16:creationId xmlns:a16="http://schemas.microsoft.com/office/drawing/2014/main" id="{C0C49467-CD00-4BFD-B805-45AB5D66C60C}"/>
              </a:ext>
            </a:extLst>
          </p:cNvPr>
          <p:cNvSpPr>
            <a:spLocks noGrp="1"/>
          </p:cNvSpPr>
          <p:nvPr>
            <p:ph type="sldNum" sz="quarter" idx="12"/>
          </p:nvPr>
        </p:nvSpPr>
        <p:spPr/>
        <p:txBody>
          <a:bodyPr/>
          <a:lstStyle/>
          <a:p>
            <a:fld id="{143B55C4-4F5A-416B-997D-6CE47EB0A945}" type="slidenum">
              <a:rPr lang="en-GB" noProof="0" smtClean="0"/>
              <a:t>22</a:t>
            </a:fld>
            <a:endParaRPr lang="en-GB" noProof="0" dirty="0"/>
          </a:p>
        </p:txBody>
      </p:sp>
      <p:sp>
        <p:nvSpPr>
          <p:cNvPr id="5" name="Title 4">
            <a:extLst>
              <a:ext uri="{FF2B5EF4-FFF2-40B4-BE49-F238E27FC236}">
                <a16:creationId xmlns:a16="http://schemas.microsoft.com/office/drawing/2014/main" id="{A5021E82-E63E-4094-A2C7-22CA0867FD12}"/>
              </a:ext>
            </a:extLst>
          </p:cNvPr>
          <p:cNvSpPr>
            <a:spLocks noGrp="1"/>
          </p:cNvSpPr>
          <p:nvPr>
            <p:ph type="title"/>
          </p:nvPr>
        </p:nvSpPr>
        <p:spPr/>
        <p:txBody>
          <a:bodyPr/>
          <a:lstStyle/>
          <a:p>
            <a:r>
              <a:rPr lang="en-US" dirty="0"/>
              <a:t>Derivatives with respect to matrix elements</a:t>
            </a:r>
          </a:p>
        </p:txBody>
      </p:sp>
    </p:spTree>
    <p:extLst>
      <p:ext uri="{BB962C8B-B14F-4D97-AF65-F5344CB8AC3E}">
        <p14:creationId xmlns:p14="http://schemas.microsoft.com/office/powerpoint/2010/main" val="610258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D2B9FEB2-3C21-4A73-A231-BFF9A7F694CB}"/>
                  </a:ext>
                </a:extLst>
              </p:cNvPr>
              <p:cNvSpPr>
                <a:spLocks noGrp="1"/>
              </p:cNvSpPr>
              <p:nvPr>
                <p:ph idx="1"/>
              </p:nvPr>
            </p:nvSpPr>
            <p:spPr>
              <a:xfrm>
                <a:off x="367575" y="1200151"/>
                <a:ext cx="8648678" cy="3394472"/>
              </a:xfrm>
            </p:spPr>
            <p:txBody>
              <a:bodyPr/>
              <a:lstStyle/>
              <a:p>
                <a:pPr marL="0" indent="0">
                  <a:buNone/>
                </a:pPr>
                <a:r>
                  <a:rPr lang="en-US" sz="1800" dirty="0">
                    <a:latin typeface="+mn-lt"/>
                  </a:rPr>
                  <a:t>We can make use of </a:t>
                </a:r>
              </a:p>
              <a:p>
                <a:pPr marL="0" indent="0">
                  <a:buNone/>
                </a:pPr>
                <a14:m>
                  <m:oMathPara xmlns:m="http://schemas.openxmlformats.org/officeDocument/2006/math">
                    <m:oMathParaPr>
                      <m:jc m:val="center"/>
                    </m:oMathParaPr>
                    <m:oMath xmlns:m="http://schemas.openxmlformats.org/officeDocument/2006/math">
                      <m:f>
                        <m:fPr>
                          <m:ctrlPr>
                            <a:rPr lang="en-US" sz="1600" i="1" smtClean="0">
                              <a:latin typeface="Cambria Math" panose="02040503050406030204" pitchFamily="18" charset="0"/>
                            </a:rPr>
                          </m:ctrlPr>
                        </m:fPr>
                        <m:num>
                          <m:r>
                            <a:rPr lang="en-US" sz="1600" b="0" i="1" smtClean="0">
                              <a:latin typeface="Cambria Math" panose="02040503050406030204" pitchFamily="18" charset="0"/>
                            </a:rPr>
                            <m:t>𝜕</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𝐶</m:t>
                              </m:r>
                            </m:e>
                            <m:sub>
                              <m:r>
                                <a:rPr lang="en-US" sz="1600" b="0" i="1" smtClean="0">
                                  <a:latin typeface="Cambria Math" panose="02040503050406030204" pitchFamily="18" charset="0"/>
                                </a:rPr>
                                <m:t>𝜇</m:t>
                              </m:r>
                              <m:r>
                                <a:rPr lang="en-US" sz="1600" b="0" i="1" smtClean="0">
                                  <a:latin typeface="Cambria Math" panose="02040503050406030204" pitchFamily="18" charset="0"/>
                                </a:rPr>
                                <m:t>𝑝</m:t>
                              </m:r>
                            </m:sub>
                          </m:sSub>
                        </m:num>
                        <m:den>
                          <m:r>
                            <a:rPr lang="en-US" sz="1600" b="0" i="1" smtClean="0">
                              <a:latin typeface="Cambria Math" panose="02040503050406030204" pitchFamily="18" charset="0"/>
                            </a:rPr>
                            <m:t>𝜕</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𝑆</m:t>
                              </m:r>
                            </m:e>
                            <m:sub>
                              <m:r>
                                <a:rPr lang="en-US" sz="1600" b="0" i="1" smtClean="0">
                                  <a:latin typeface="Cambria Math" panose="02040503050406030204" pitchFamily="18" charset="0"/>
                                </a:rPr>
                                <m:t>𝜆𝜎</m:t>
                              </m:r>
                            </m:sub>
                          </m:sSub>
                        </m:den>
                      </m:f>
                      <m:f>
                        <m:fPr>
                          <m:ctrlPr>
                            <a:rPr lang="en-US" sz="1600" i="1" smtClean="0">
                              <a:latin typeface="Cambria Math" panose="02040503050406030204" pitchFamily="18" charset="0"/>
                            </a:rPr>
                          </m:ctrlPr>
                        </m:fPr>
                        <m:num>
                          <m:r>
                            <m:rPr>
                              <m:sty m:val="p"/>
                            </m:rPr>
                            <a:rPr lang="en-US" sz="1600" b="0" i="0" smtClean="0">
                              <a:latin typeface="Cambria Math" panose="02040503050406030204" pitchFamily="18" charset="0"/>
                            </a:rPr>
                            <m:t>d</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𝑆</m:t>
                              </m:r>
                            </m:e>
                            <m:sub>
                              <m:r>
                                <a:rPr lang="en-US" sz="1600" b="0" i="1" smtClean="0">
                                  <a:latin typeface="Cambria Math" panose="02040503050406030204" pitchFamily="18" charset="0"/>
                                </a:rPr>
                                <m:t>𝜆𝜎</m:t>
                              </m:r>
                            </m:sub>
                          </m:sSub>
                        </m:num>
                        <m:den>
                          <m:r>
                            <m:rPr>
                              <m:sty m:val="p"/>
                            </m:rPr>
                            <a:rPr lang="en-US" sz="1600" b="0" i="0" smtClean="0">
                              <a:latin typeface="Cambria Math" panose="02040503050406030204" pitchFamily="18" charset="0"/>
                            </a:rPr>
                            <m:t>d</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𝑅</m:t>
                              </m:r>
                            </m:e>
                            <m:sub>
                              <m:r>
                                <a:rPr lang="en-US" sz="1600" b="0" i="1" smtClean="0">
                                  <a:latin typeface="Cambria Math" panose="02040503050406030204" pitchFamily="18" charset="0"/>
                                </a:rPr>
                                <m:t>𝐼</m:t>
                              </m:r>
                            </m:sub>
                          </m:sSub>
                        </m:den>
                      </m:f>
                      <m:r>
                        <a:rPr lang="en-US" sz="1600" b="0" i="1" smtClean="0">
                          <a:latin typeface="Cambria Math" panose="02040503050406030204" pitchFamily="18" charset="0"/>
                        </a:rPr>
                        <m:t>=−</m:t>
                      </m:r>
                      <m:f>
                        <m:fPr>
                          <m:ctrlPr>
                            <a:rPr lang="en-US" sz="1600" b="0" i="1" smtClean="0">
                              <a:latin typeface="Cambria Math" panose="02040503050406030204" pitchFamily="18" charset="0"/>
                            </a:rPr>
                          </m:ctrlPr>
                        </m:fPr>
                        <m:num>
                          <m:r>
                            <a:rPr lang="en-US" sz="1600" b="0" i="1" smtClean="0">
                              <a:latin typeface="Cambria Math" panose="02040503050406030204" pitchFamily="18" charset="0"/>
                            </a:rPr>
                            <m:t>1</m:t>
                          </m:r>
                        </m:num>
                        <m:den>
                          <m:r>
                            <a:rPr lang="en-US" sz="1600" b="0" i="1" smtClean="0">
                              <a:latin typeface="Cambria Math" panose="02040503050406030204" pitchFamily="18" charset="0"/>
                            </a:rPr>
                            <m:t>2</m:t>
                          </m:r>
                        </m:den>
                      </m:f>
                      <m:nary>
                        <m:naryPr>
                          <m:chr m:val="∑"/>
                          <m:supHide m:val="on"/>
                          <m:ctrlPr>
                            <a:rPr lang="en-US" sz="1600" b="0" i="1" smtClean="0">
                              <a:latin typeface="Cambria Math" panose="02040503050406030204" pitchFamily="18" charset="0"/>
                            </a:rPr>
                          </m:ctrlPr>
                        </m:naryPr>
                        <m:sub>
                          <m:r>
                            <m:rPr>
                              <m:brk m:alnAt="7"/>
                            </m:rPr>
                            <a:rPr lang="en-US" sz="1600" b="0" i="1" smtClean="0">
                              <a:latin typeface="Cambria Math" panose="02040503050406030204" pitchFamily="18" charset="0"/>
                            </a:rPr>
                            <m:t>𝑞</m:t>
                          </m:r>
                        </m:sub>
                        <m:sup/>
                        <m:e>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𝐶</m:t>
                              </m:r>
                            </m:e>
                            <m:sub>
                              <m:r>
                                <a:rPr lang="en-US" sz="1600" b="0" i="1" smtClean="0">
                                  <a:latin typeface="Cambria Math" panose="02040503050406030204" pitchFamily="18" charset="0"/>
                                </a:rPr>
                                <m:t>𝜇</m:t>
                              </m:r>
                              <m:r>
                                <a:rPr lang="en-US" sz="1600" b="0" i="1" smtClean="0">
                                  <a:latin typeface="Cambria Math" panose="02040503050406030204" pitchFamily="18" charset="0"/>
                                </a:rPr>
                                <m:t>𝑞</m:t>
                              </m:r>
                            </m:sub>
                          </m:sSub>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𝐶</m:t>
                              </m:r>
                            </m:e>
                            <m:sub>
                              <m:r>
                                <a:rPr lang="en-US" sz="1600" b="0" i="1" smtClean="0">
                                  <a:latin typeface="Cambria Math" panose="02040503050406030204" pitchFamily="18" charset="0"/>
                                </a:rPr>
                                <m:t>𝜆</m:t>
                              </m:r>
                              <m:r>
                                <a:rPr lang="en-US" sz="1600" b="0" i="1" smtClean="0">
                                  <a:latin typeface="Cambria Math" panose="02040503050406030204" pitchFamily="18" charset="0"/>
                                </a:rPr>
                                <m:t>𝑞</m:t>
                              </m:r>
                            </m:sub>
                          </m:sSub>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𝐶</m:t>
                              </m:r>
                            </m:e>
                            <m:sub>
                              <m:r>
                                <a:rPr lang="en-US" sz="1600" b="0" i="1" smtClean="0">
                                  <a:latin typeface="Cambria Math" panose="02040503050406030204" pitchFamily="18" charset="0"/>
                                </a:rPr>
                                <m:t>𝜎</m:t>
                              </m:r>
                              <m:r>
                                <a:rPr lang="en-US" sz="1600" b="0" i="1" smtClean="0">
                                  <a:latin typeface="Cambria Math" panose="02040503050406030204" pitchFamily="18" charset="0"/>
                                </a:rPr>
                                <m:t>𝑝</m:t>
                              </m:r>
                            </m:sub>
                          </m:sSub>
                          <m:f>
                            <m:fPr>
                              <m:ctrlPr>
                                <a:rPr lang="en-US" sz="1600" b="0" i="1" smtClean="0">
                                  <a:latin typeface="Cambria Math" panose="02040503050406030204" pitchFamily="18" charset="0"/>
                                </a:rPr>
                              </m:ctrlPr>
                            </m:fPr>
                            <m:num>
                              <m:r>
                                <m:rPr>
                                  <m:sty m:val="p"/>
                                </m:rPr>
                                <a:rPr lang="en-US" sz="1600" b="0" i="0" smtClean="0">
                                  <a:latin typeface="Cambria Math" panose="02040503050406030204" pitchFamily="18" charset="0"/>
                                </a:rPr>
                                <m:t>d</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𝑆</m:t>
                                  </m:r>
                                </m:e>
                                <m:sub>
                                  <m:r>
                                    <a:rPr lang="en-US" sz="1600" b="0" i="1" smtClean="0">
                                      <a:latin typeface="Cambria Math" panose="02040503050406030204" pitchFamily="18" charset="0"/>
                                    </a:rPr>
                                    <m:t>𝜆𝜎</m:t>
                                  </m:r>
                                </m:sub>
                              </m:sSub>
                            </m:num>
                            <m:den>
                              <m:r>
                                <m:rPr>
                                  <m:sty m:val="p"/>
                                </m:rPr>
                                <a:rPr lang="en-US" sz="1600" b="0" i="0" smtClean="0">
                                  <a:latin typeface="Cambria Math" panose="02040503050406030204" pitchFamily="18" charset="0"/>
                                </a:rPr>
                                <m:t>d</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𝑅</m:t>
                                  </m:r>
                                </m:e>
                                <m:sub>
                                  <m:r>
                                    <a:rPr lang="en-US" sz="1600" b="0" i="1" smtClean="0">
                                      <a:latin typeface="Cambria Math" panose="02040503050406030204" pitchFamily="18" charset="0"/>
                                    </a:rPr>
                                    <m:t>𝐼</m:t>
                                  </m:r>
                                </m:sub>
                              </m:sSub>
                            </m:den>
                          </m:f>
                        </m:e>
                      </m:nary>
                    </m:oMath>
                  </m:oMathPara>
                </a14:m>
                <a:endParaRPr lang="en-US" sz="1600" b="0" dirty="0">
                  <a:latin typeface="Cambria Math" panose="02040503050406030204" pitchFamily="18" charset="0"/>
                </a:endParaRPr>
              </a:p>
              <a:p>
                <a:pPr marL="0" indent="0">
                  <a:buNone/>
                </a:pPr>
                <a:endParaRPr lang="en-US" sz="1800" dirty="0">
                  <a:latin typeface="+mn-lt"/>
                </a:endParaRPr>
              </a:p>
              <a:p>
                <a:pPr marL="0" indent="0">
                  <a:buNone/>
                </a:pPr>
                <a:r>
                  <a:rPr lang="en-US" sz="1800" dirty="0">
                    <a:latin typeface="+mn-lt"/>
                  </a:rPr>
                  <a:t>to simplify to</a:t>
                </a:r>
              </a:p>
              <a:p>
                <a:pPr marL="0" indent="0">
                  <a:buNone/>
                </a:pPr>
                <a14:m>
                  <m:oMathPara xmlns:m="http://schemas.openxmlformats.org/officeDocument/2006/math">
                    <m:oMathParaPr>
                      <m:jc m:val="left"/>
                    </m:oMathParaPr>
                    <m:oMath xmlns:m="http://schemas.openxmlformats.org/officeDocument/2006/math">
                      <m:f>
                        <m:fPr>
                          <m:ctrlPr>
                            <a:rPr lang="en-US" sz="1600" i="1">
                              <a:latin typeface="Cambria Math" panose="02040503050406030204" pitchFamily="18" charset="0"/>
                            </a:rPr>
                          </m:ctrlPr>
                        </m:fPr>
                        <m:num>
                          <m:r>
                            <a:rPr lang="en-US" sz="1600" i="1">
                              <a:latin typeface="Cambria Math" panose="02040503050406030204" pitchFamily="18" charset="0"/>
                            </a:rPr>
                            <m:t>𝜕</m:t>
                          </m:r>
                          <m:r>
                            <a:rPr lang="en-US" sz="1600" i="1">
                              <a:latin typeface="Cambria Math" panose="02040503050406030204" pitchFamily="18" charset="0"/>
                            </a:rPr>
                            <m:t>𝐸</m:t>
                          </m:r>
                        </m:num>
                        <m:den>
                          <m:r>
                            <a:rPr lang="en-US" sz="1600" i="1">
                              <a:latin typeface="Cambria Math" panose="02040503050406030204" pitchFamily="18" charset="0"/>
                            </a:rPr>
                            <m:t>𝜕</m:t>
                          </m:r>
                          <m:r>
                            <a:rPr lang="en-US" sz="1600" b="1" i="1">
                              <a:latin typeface="Cambria Math" panose="02040503050406030204" pitchFamily="18" charset="0"/>
                            </a:rPr>
                            <m:t>𝑺</m:t>
                          </m:r>
                        </m:den>
                      </m:f>
                      <m:f>
                        <m:fPr>
                          <m:ctrlPr>
                            <a:rPr lang="en-US" sz="1600" i="1">
                              <a:latin typeface="Cambria Math" panose="02040503050406030204" pitchFamily="18" charset="0"/>
                            </a:rPr>
                          </m:ctrlPr>
                        </m:fPr>
                        <m:num>
                          <m:r>
                            <a:rPr lang="en-US" sz="1600" i="1">
                              <a:latin typeface="Cambria Math" panose="02040503050406030204" pitchFamily="18" charset="0"/>
                            </a:rPr>
                            <m:t>𝜕</m:t>
                          </m:r>
                          <m:r>
                            <a:rPr lang="en-US" sz="1600" b="1" i="1">
                              <a:latin typeface="Cambria Math" panose="02040503050406030204" pitchFamily="18" charset="0"/>
                            </a:rPr>
                            <m:t>𝑺</m:t>
                          </m:r>
                        </m:num>
                        <m:den>
                          <m:r>
                            <a:rPr lang="en-US" sz="1600" i="1">
                              <a:latin typeface="Cambria Math" panose="02040503050406030204" pitchFamily="18" charset="0"/>
                            </a:rPr>
                            <m:t>𝜕</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r>
                        <m:rPr>
                          <m:aln/>
                        </m:rPr>
                        <a:rPr lang="en-US" sz="1600" i="1">
                          <a:latin typeface="Cambria Math" panose="02040503050406030204" pitchFamily="18" charset="0"/>
                        </a:rPr>
                        <m:t>=</m:t>
                      </m:r>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𝜂𝜁</m:t>
                          </m:r>
                        </m:sub>
                        <m:sup/>
                        <m:e>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𝑝𝑞</m:t>
                              </m:r>
                            </m:sub>
                            <m:sup/>
                            <m:e>
                              <m:sSub>
                                <m:sSubPr>
                                  <m:ctrlPr>
                                    <a:rPr lang="en-US" sz="1600" i="1">
                                      <a:latin typeface="Cambria Math" panose="02040503050406030204" pitchFamily="18" charset="0"/>
                                    </a:rPr>
                                  </m:ctrlPr>
                                </m:sSubPr>
                                <m:e>
                                  <m:r>
                                    <a:rPr lang="en-US" sz="1600" i="1">
                                      <a:latin typeface="Cambria Math" panose="02040503050406030204" pitchFamily="18" charset="0"/>
                                    </a:rPr>
                                    <m:t>𝛾</m:t>
                                  </m:r>
                                </m:e>
                                <m:sub>
                                  <m:r>
                                    <a:rPr lang="en-US" sz="1600" i="1">
                                      <a:latin typeface="Cambria Math" panose="02040503050406030204" pitchFamily="18" charset="0"/>
                                    </a:rPr>
                                    <m:t>𝑝𝑞</m:t>
                                  </m:r>
                                </m:sub>
                              </m:sSub>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𝜇𝜈</m:t>
                                  </m:r>
                                </m:sub>
                                <m:sup/>
                                <m:e>
                                  <m:f>
                                    <m:fPr>
                                      <m:ctrlPr>
                                        <a:rPr lang="en-US" sz="1600" i="1">
                                          <a:latin typeface="Cambria Math" panose="02040503050406030204" pitchFamily="18" charset="0"/>
                                        </a:rPr>
                                      </m:ctrlPr>
                                    </m:fPr>
                                    <m:num>
                                      <m:r>
                                        <a:rPr lang="en-US" sz="1600" i="1">
                                          <a:latin typeface="Cambria Math" panose="02040503050406030204" pitchFamily="18" charset="0"/>
                                        </a:rPr>
                                        <m:t>𝜕</m:t>
                                      </m:r>
                                    </m:num>
                                    <m:den>
                                      <m:sSub>
                                        <m:sSubPr>
                                          <m:ctrlPr>
                                            <a:rPr lang="en-US" sz="1600" i="1">
                                              <a:latin typeface="Cambria Math" panose="02040503050406030204" pitchFamily="18" charset="0"/>
                                            </a:rPr>
                                          </m:ctrlPr>
                                        </m:sSubPr>
                                        <m:e>
                                          <m:r>
                                            <a:rPr lang="en-US" sz="1600" i="1">
                                              <a:latin typeface="Cambria Math" panose="02040503050406030204" pitchFamily="18" charset="0"/>
                                            </a:rPr>
                                            <m:t>𝜕</m:t>
                                          </m:r>
                                          <m:r>
                                            <a:rPr lang="en-US" sz="1600" i="1">
                                              <a:latin typeface="Cambria Math" panose="02040503050406030204" pitchFamily="18" charset="0"/>
                                            </a:rPr>
                                            <m:t>𝑆</m:t>
                                          </m:r>
                                        </m:e>
                                        <m:sub>
                                          <m:r>
                                            <a:rPr lang="en-US" sz="1600" i="1">
                                              <a:latin typeface="Cambria Math" panose="02040503050406030204" pitchFamily="18" charset="0"/>
                                            </a:rPr>
                                            <m:t>𝜂𝜁</m:t>
                                          </m:r>
                                        </m:sub>
                                      </m:sSub>
                                    </m:den>
                                  </m:f>
                                  <m:r>
                                    <a:rPr lang="en-US" sz="1600" i="1">
                                      <a:latin typeface="Cambria Math" panose="02040503050406030204" pitchFamily="18" charset="0"/>
                                    </a:rPr>
                                    <m:t>(</m:t>
                                  </m:r>
                                  <m:sSub>
                                    <m:sSubPr>
                                      <m:ctrlPr>
                                        <a:rPr lang="en-US" sz="1600" i="1">
                                          <a:latin typeface="Cambria Math" panose="02040503050406030204" pitchFamily="18" charset="0"/>
                                        </a:rPr>
                                      </m:ctrlPr>
                                    </m:sSubPr>
                                    <m:e>
                                      <m:r>
                                        <a:rPr lang="en-US" sz="1600" i="1">
                                          <a:latin typeface="Cambria Math" panose="02040503050406030204" pitchFamily="18" charset="0"/>
                                        </a:rPr>
                                        <m:t>𝐶</m:t>
                                      </m:r>
                                    </m:e>
                                    <m:sub>
                                      <m:r>
                                        <a:rPr lang="en-US" sz="1600" i="1">
                                          <a:latin typeface="Cambria Math" panose="02040503050406030204" pitchFamily="18" charset="0"/>
                                        </a:rPr>
                                        <m:t>𝜇</m:t>
                                      </m:r>
                                      <m:r>
                                        <a:rPr lang="en-US" sz="1600" i="1">
                                          <a:latin typeface="Cambria Math" panose="02040503050406030204" pitchFamily="18" charset="0"/>
                                        </a:rPr>
                                        <m:t>𝑝</m:t>
                                      </m:r>
                                    </m:sub>
                                  </m:sSub>
                                  <m:sSub>
                                    <m:sSubPr>
                                      <m:ctrlPr>
                                        <a:rPr lang="en-US" sz="1600" i="1">
                                          <a:latin typeface="Cambria Math" panose="02040503050406030204" pitchFamily="18" charset="0"/>
                                        </a:rPr>
                                      </m:ctrlPr>
                                    </m:sSubPr>
                                    <m:e>
                                      <m:r>
                                        <a:rPr lang="en-US" sz="1600" i="1">
                                          <a:latin typeface="Cambria Math" panose="02040503050406030204" pitchFamily="18" charset="0"/>
                                        </a:rPr>
                                        <m:t>𝐶</m:t>
                                      </m:r>
                                    </m:e>
                                    <m:sub>
                                      <m:r>
                                        <a:rPr lang="en-US" sz="1600" i="1">
                                          <a:latin typeface="Cambria Math" panose="02040503050406030204" pitchFamily="18" charset="0"/>
                                        </a:rPr>
                                        <m:t>𝜈</m:t>
                                      </m:r>
                                      <m:r>
                                        <a:rPr lang="en-US" sz="1600" i="1">
                                          <a:latin typeface="Cambria Math" panose="02040503050406030204" pitchFamily="18" charset="0"/>
                                        </a:rPr>
                                        <m:t>𝑞</m:t>
                                      </m:r>
                                    </m:sub>
                                  </m:sSub>
                                  <m:r>
                                    <a:rPr lang="en-US" sz="1600" i="1">
                                      <a:latin typeface="Cambria Math" panose="02040503050406030204" pitchFamily="18" charset="0"/>
                                    </a:rPr>
                                    <m:t>)</m:t>
                                  </m:r>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𝑆</m:t>
                                          </m:r>
                                        </m:e>
                                        <m:sub>
                                          <m:r>
                                            <a:rPr lang="en-US" sz="1600" i="1">
                                              <a:latin typeface="Cambria Math" panose="02040503050406030204" pitchFamily="18" charset="0"/>
                                            </a:rPr>
                                            <m:t>𝜂𝜁</m:t>
                                          </m:r>
                                        </m:sub>
                                      </m:sSub>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sSub>
                                    <m:sSubPr>
                                      <m:ctrlPr>
                                        <a:rPr lang="en-US" sz="1600" i="1">
                                          <a:latin typeface="Cambria Math" panose="02040503050406030204" pitchFamily="18" charset="0"/>
                                        </a:rPr>
                                      </m:ctrlPr>
                                    </m:sSubPr>
                                    <m:e>
                                      <m:r>
                                        <a:rPr lang="en-US" sz="1600" i="1">
                                          <a:latin typeface="Cambria Math" panose="02040503050406030204" pitchFamily="18" charset="0"/>
                                        </a:rPr>
                                        <m:t>h</m:t>
                                      </m:r>
                                    </m:e>
                                    <m:sub>
                                      <m:r>
                                        <a:rPr lang="en-US" sz="1600" i="1">
                                          <a:latin typeface="Cambria Math" panose="02040503050406030204" pitchFamily="18" charset="0"/>
                                        </a:rPr>
                                        <m:t>𝜇𝜈</m:t>
                                      </m:r>
                                    </m:sub>
                                  </m:sSub>
                                </m:e>
                              </m:nary>
                            </m:e>
                          </m:nary>
                        </m:e>
                      </m:nary>
                      <m:r>
                        <a:rPr lang="en-US" sz="1600" i="1">
                          <a:latin typeface="Cambria Math" panose="02040503050406030204" pitchFamily="18" charset="0"/>
                        </a:rPr>
                        <m:t>+</m:t>
                      </m:r>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𝑝𝑞𝑟𝑠</m:t>
                          </m:r>
                        </m:sub>
                        <m:sup/>
                        <m:e>
                          <m:sSub>
                            <m:sSubPr>
                              <m:ctrlPr>
                                <a:rPr lang="en-US" sz="1600" i="1">
                                  <a:latin typeface="Cambria Math" panose="02040503050406030204" pitchFamily="18" charset="0"/>
                                </a:rPr>
                              </m:ctrlPr>
                            </m:sSubPr>
                            <m:e>
                              <m:r>
                                <m:rPr>
                                  <m:sty m:val="p"/>
                                </m:rPr>
                                <a:rPr lang="en-US" sz="1600">
                                  <a:latin typeface="Cambria Math" panose="02040503050406030204" pitchFamily="18" charset="0"/>
                                </a:rPr>
                                <m:t>Γ</m:t>
                              </m:r>
                            </m:e>
                            <m:sub>
                              <m:r>
                                <a:rPr lang="en-US" sz="1600" i="1">
                                  <a:latin typeface="Cambria Math" panose="02040503050406030204" pitchFamily="18" charset="0"/>
                                </a:rPr>
                                <m:t>𝑝𝑞𝑟𝑠</m:t>
                              </m:r>
                            </m:sub>
                          </m:sSub>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𝜇𝜈𝜆𝜎</m:t>
                              </m:r>
                            </m:sub>
                            <m:sup/>
                            <m:e>
                              <m:sSub>
                                <m:sSubPr>
                                  <m:ctrlPr>
                                    <a:rPr lang="en-US" sz="1600" i="1">
                                      <a:latin typeface="Cambria Math" panose="02040503050406030204" pitchFamily="18" charset="0"/>
                                    </a:rPr>
                                  </m:ctrlPr>
                                </m:sSubPr>
                                <m:e>
                                  <m:f>
                                    <m:fPr>
                                      <m:ctrlPr>
                                        <a:rPr lang="en-US" sz="1600" i="1">
                                          <a:latin typeface="Cambria Math" panose="02040503050406030204" pitchFamily="18" charset="0"/>
                                        </a:rPr>
                                      </m:ctrlPr>
                                    </m:fPr>
                                    <m:num>
                                      <m:r>
                                        <a:rPr lang="en-US" sz="1600" i="1">
                                          <a:latin typeface="Cambria Math" panose="02040503050406030204" pitchFamily="18" charset="0"/>
                                        </a:rPr>
                                        <m:t>𝜕</m:t>
                                      </m:r>
                                    </m:num>
                                    <m:den>
                                      <m:r>
                                        <a:rPr lang="en-US" sz="1600" i="1">
                                          <a:latin typeface="Cambria Math" panose="02040503050406030204" pitchFamily="18" charset="0"/>
                                        </a:rPr>
                                        <m:t>𝜕</m:t>
                                      </m:r>
                                      <m:sSub>
                                        <m:sSubPr>
                                          <m:ctrlPr>
                                            <a:rPr lang="en-US" sz="1600" i="1">
                                              <a:latin typeface="Cambria Math" panose="02040503050406030204" pitchFamily="18" charset="0"/>
                                            </a:rPr>
                                          </m:ctrlPr>
                                        </m:sSubPr>
                                        <m:e>
                                          <m:r>
                                            <a:rPr lang="en-US" sz="1600" i="1">
                                              <a:latin typeface="Cambria Math" panose="02040503050406030204" pitchFamily="18" charset="0"/>
                                            </a:rPr>
                                            <m:t>𝑆</m:t>
                                          </m:r>
                                        </m:e>
                                        <m:sub>
                                          <m:r>
                                            <a:rPr lang="en-US" sz="1600" i="1">
                                              <a:latin typeface="Cambria Math" panose="02040503050406030204" pitchFamily="18" charset="0"/>
                                            </a:rPr>
                                            <m:t>𝜂𝜁</m:t>
                                          </m:r>
                                        </m:sub>
                                      </m:sSub>
                                    </m:den>
                                  </m:f>
                                  <m:r>
                                    <a:rPr lang="en-US" sz="1600" i="1">
                                      <a:latin typeface="Cambria Math" panose="02040503050406030204" pitchFamily="18" charset="0"/>
                                    </a:rPr>
                                    <m:t>(</m:t>
                                  </m:r>
                                  <m:sSub>
                                    <m:sSubPr>
                                      <m:ctrlPr>
                                        <a:rPr lang="en-US" sz="1600" i="1">
                                          <a:latin typeface="Cambria Math" panose="02040503050406030204" pitchFamily="18" charset="0"/>
                                        </a:rPr>
                                      </m:ctrlPr>
                                    </m:sSubPr>
                                    <m:e>
                                      <m:r>
                                        <a:rPr lang="en-US" sz="1600" i="1">
                                          <a:latin typeface="Cambria Math" panose="02040503050406030204" pitchFamily="18" charset="0"/>
                                        </a:rPr>
                                        <m:t>𝐶</m:t>
                                      </m:r>
                                    </m:e>
                                    <m:sub>
                                      <m:r>
                                        <a:rPr lang="en-US" sz="1600" i="1">
                                          <a:latin typeface="Cambria Math" panose="02040503050406030204" pitchFamily="18" charset="0"/>
                                        </a:rPr>
                                        <m:t>𝜇</m:t>
                                      </m:r>
                                      <m:r>
                                        <a:rPr lang="en-US" sz="1600" i="1">
                                          <a:latin typeface="Cambria Math" panose="02040503050406030204" pitchFamily="18" charset="0"/>
                                        </a:rPr>
                                        <m:t>𝑝</m:t>
                                      </m:r>
                                    </m:sub>
                                  </m:sSub>
                                  <m:sSub>
                                    <m:sSubPr>
                                      <m:ctrlPr>
                                        <a:rPr lang="en-US" sz="1600" i="1">
                                          <a:latin typeface="Cambria Math" panose="02040503050406030204" pitchFamily="18" charset="0"/>
                                        </a:rPr>
                                      </m:ctrlPr>
                                    </m:sSubPr>
                                    <m:e>
                                      <m:r>
                                        <a:rPr lang="en-US" sz="1600" i="1">
                                          <a:latin typeface="Cambria Math" panose="02040503050406030204" pitchFamily="18" charset="0"/>
                                        </a:rPr>
                                        <m:t>𝐶</m:t>
                                      </m:r>
                                    </m:e>
                                    <m:sub>
                                      <m:r>
                                        <a:rPr lang="en-US" sz="1600" i="1">
                                          <a:latin typeface="Cambria Math" panose="02040503050406030204" pitchFamily="18" charset="0"/>
                                        </a:rPr>
                                        <m:t>𝜈</m:t>
                                      </m:r>
                                      <m:r>
                                        <a:rPr lang="en-US" sz="1600" i="1">
                                          <a:latin typeface="Cambria Math" panose="02040503050406030204" pitchFamily="18" charset="0"/>
                                        </a:rPr>
                                        <m:t>𝑞</m:t>
                                      </m:r>
                                    </m:sub>
                                  </m:sSub>
                                  <m:sSub>
                                    <m:sSubPr>
                                      <m:ctrlPr>
                                        <a:rPr lang="en-US" sz="1600" i="1">
                                          <a:latin typeface="Cambria Math" panose="02040503050406030204" pitchFamily="18" charset="0"/>
                                        </a:rPr>
                                      </m:ctrlPr>
                                    </m:sSubPr>
                                    <m:e>
                                      <m:r>
                                        <a:rPr lang="en-US" sz="1600" i="1">
                                          <a:latin typeface="Cambria Math" panose="02040503050406030204" pitchFamily="18" charset="0"/>
                                        </a:rPr>
                                        <m:t>𝐶</m:t>
                                      </m:r>
                                    </m:e>
                                    <m:sub>
                                      <m:r>
                                        <a:rPr lang="en-US" sz="1600" i="1">
                                          <a:latin typeface="Cambria Math" panose="02040503050406030204" pitchFamily="18" charset="0"/>
                                        </a:rPr>
                                        <m:t>𝜆</m:t>
                                      </m:r>
                                      <m:r>
                                        <a:rPr lang="en-US" sz="1600" i="1">
                                          <a:latin typeface="Cambria Math" panose="02040503050406030204" pitchFamily="18" charset="0"/>
                                        </a:rPr>
                                        <m:t>𝑟</m:t>
                                      </m:r>
                                    </m:sub>
                                  </m:sSub>
                                  <m:sSub>
                                    <m:sSubPr>
                                      <m:ctrlPr>
                                        <a:rPr lang="en-US" sz="1600" i="1">
                                          <a:latin typeface="Cambria Math" panose="02040503050406030204" pitchFamily="18" charset="0"/>
                                        </a:rPr>
                                      </m:ctrlPr>
                                    </m:sSubPr>
                                    <m:e>
                                      <m:r>
                                        <a:rPr lang="en-US" sz="1600" i="1">
                                          <a:latin typeface="Cambria Math" panose="02040503050406030204" pitchFamily="18" charset="0"/>
                                        </a:rPr>
                                        <m:t>𝐶</m:t>
                                      </m:r>
                                    </m:e>
                                    <m:sub>
                                      <m:r>
                                        <a:rPr lang="en-US" sz="1600" i="1">
                                          <a:latin typeface="Cambria Math" panose="02040503050406030204" pitchFamily="18" charset="0"/>
                                        </a:rPr>
                                        <m:t>𝜎</m:t>
                                      </m:r>
                                      <m:r>
                                        <a:rPr lang="en-US" sz="1600" i="1">
                                          <a:latin typeface="Cambria Math" panose="02040503050406030204" pitchFamily="18" charset="0"/>
                                        </a:rPr>
                                        <m:t>𝑠</m:t>
                                      </m:r>
                                    </m:sub>
                                  </m:sSub>
                                  <m:r>
                                    <a:rPr lang="en-US" sz="1600" i="1">
                                      <a:latin typeface="Cambria Math" panose="02040503050406030204" pitchFamily="18" charset="0"/>
                                    </a:rPr>
                                    <m:t>)</m:t>
                                  </m:r>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𝑆</m:t>
                                          </m:r>
                                        </m:e>
                                        <m:sub>
                                          <m:r>
                                            <a:rPr lang="en-US" sz="1600" i="1">
                                              <a:latin typeface="Cambria Math" panose="02040503050406030204" pitchFamily="18" charset="0"/>
                                            </a:rPr>
                                            <m:t>𝜂𝜁</m:t>
                                          </m:r>
                                        </m:sub>
                                      </m:sSub>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r>
                                    <a:rPr lang="en-US" sz="1600" i="1">
                                      <a:latin typeface="Cambria Math" panose="02040503050406030204" pitchFamily="18" charset="0"/>
                                    </a:rPr>
                                    <m:t>𝑔</m:t>
                                  </m:r>
                                </m:e>
                                <m:sub>
                                  <m:r>
                                    <a:rPr lang="en-US" sz="1600" i="1">
                                      <a:latin typeface="Cambria Math" panose="02040503050406030204" pitchFamily="18" charset="0"/>
                                    </a:rPr>
                                    <m:t>𝜇𝜈𝜆𝜎</m:t>
                                  </m:r>
                                </m:sub>
                              </m:sSub>
                            </m:e>
                          </m:nary>
                        </m:e>
                      </m:nary>
                    </m:oMath>
                    <m:oMath xmlns:m="http://schemas.openxmlformats.org/officeDocument/2006/math">
                      <m:r>
                        <m:rPr>
                          <m:aln/>
                        </m:rPr>
                        <a:rPr lang="en-US" sz="1600" b="0" i="1" smtClean="0">
                          <a:latin typeface="Cambria Math" panose="02040503050406030204" pitchFamily="18" charset="0"/>
                        </a:rPr>
                        <m:t>=</m:t>
                      </m:r>
                      <m:r>
                        <a:rPr lang="en-US" sz="1600" b="0" i="1" smtClean="0">
                          <a:latin typeface="Cambria Math" panose="02040503050406030204" pitchFamily="18" charset="0"/>
                        </a:rPr>
                        <m:t>−</m:t>
                      </m:r>
                      <m:nary>
                        <m:naryPr>
                          <m:chr m:val="∑"/>
                          <m:supHide m:val="on"/>
                          <m:ctrlPr>
                            <a:rPr lang="en-US" sz="1600" b="0" i="1" smtClean="0">
                              <a:latin typeface="Cambria Math" panose="02040503050406030204" pitchFamily="18" charset="0"/>
                            </a:rPr>
                          </m:ctrlPr>
                        </m:naryPr>
                        <m:sub>
                          <m:r>
                            <a:rPr lang="en-US" sz="1600" b="0" i="1" smtClean="0">
                              <a:latin typeface="Cambria Math" panose="02040503050406030204" pitchFamily="18" charset="0"/>
                            </a:rPr>
                            <m:t>𝑝𝑞𝑚</m:t>
                          </m:r>
                        </m:sub>
                        <m:sup/>
                        <m:e>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𝛾</m:t>
                              </m:r>
                            </m:e>
                            <m:sub>
                              <m:r>
                                <a:rPr lang="en-US" sz="1600" b="0" i="1" smtClean="0">
                                  <a:latin typeface="Cambria Math" panose="02040503050406030204" pitchFamily="18" charset="0"/>
                                </a:rPr>
                                <m:t>𝑞𝑚</m:t>
                              </m:r>
                            </m:sub>
                          </m:sSub>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h</m:t>
                              </m:r>
                            </m:e>
                            <m:sub>
                              <m:r>
                                <a:rPr lang="en-US" sz="1600" b="0" i="1" smtClean="0">
                                  <a:latin typeface="Cambria Math" panose="02040503050406030204" pitchFamily="18" charset="0"/>
                                </a:rPr>
                                <m:t>𝑞𝑚</m:t>
                              </m:r>
                            </m:sub>
                          </m:sSub>
                          <m:f>
                            <m:fPr>
                              <m:ctrlPr>
                                <a:rPr lang="en-US" sz="1600" b="0" i="1" smtClean="0">
                                  <a:latin typeface="Cambria Math" panose="02040503050406030204" pitchFamily="18" charset="0"/>
                                </a:rPr>
                              </m:ctrlPr>
                            </m:fPr>
                            <m:num>
                              <m:r>
                                <m:rPr>
                                  <m:sty m:val="p"/>
                                </m:rPr>
                                <a:rPr lang="en-US" sz="1600" b="0" i="0" smtClean="0">
                                  <a:latin typeface="Cambria Math" panose="02040503050406030204" pitchFamily="18" charset="0"/>
                                </a:rPr>
                                <m:t>d</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𝑆</m:t>
                                  </m:r>
                                </m:e>
                                <m:sub>
                                  <m:r>
                                    <a:rPr lang="en-US" sz="1600" b="0" i="1" smtClean="0">
                                      <a:latin typeface="Cambria Math" panose="02040503050406030204" pitchFamily="18" charset="0"/>
                                    </a:rPr>
                                    <m:t>𝑝𝑞</m:t>
                                  </m:r>
                                </m:sub>
                              </m:sSub>
                            </m:num>
                            <m:den>
                              <m:r>
                                <m:rPr>
                                  <m:sty m:val="p"/>
                                </m:rPr>
                                <a:rPr lang="en-US" sz="1600" b="0" i="0" smtClean="0">
                                  <a:latin typeface="Cambria Math" panose="02040503050406030204" pitchFamily="18" charset="0"/>
                                </a:rPr>
                                <m:t>d</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𝑅</m:t>
                                  </m:r>
                                </m:e>
                                <m:sub>
                                  <m:r>
                                    <a:rPr lang="en-US" sz="1600" b="0" i="1" smtClean="0">
                                      <a:latin typeface="Cambria Math" panose="02040503050406030204" pitchFamily="18" charset="0"/>
                                    </a:rPr>
                                    <m:t>𝐼</m:t>
                                  </m:r>
                                </m:sub>
                              </m:sSub>
                            </m:den>
                          </m:f>
                        </m:e>
                      </m:nary>
                      <m:r>
                        <a:rPr lang="en-US" sz="1600" b="0" i="1" smtClean="0">
                          <a:latin typeface="Cambria Math" panose="02040503050406030204" pitchFamily="18" charset="0"/>
                        </a:rPr>
                        <m:t>−2</m:t>
                      </m:r>
                      <m:nary>
                        <m:naryPr>
                          <m:chr m:val="∑"/>
                          <m:supHide m:val="on"/>
                          <m:ctrlPr>
                            <a:rPr lang="en-US" sz="1600" b="0" i="1" smtClean="0">
                              <a:latin typeface="Cambria Math" panose="02040503050406030204" pitchFamily="18" charset="0"/>
                            </a:rPr>
                          </m:ctrlPr>
                        </m:naryPr>
                        <m:sub>
                          <m:r>
                            <a:rPr lang="en-US" sz="1600" b="0" i="1" smtClean="0">
                              <a:latin typeface="Cambria Math" panose="02040503050406030204" pitchFamily="18" charset="0"/>
                            </a:rPr>
                            <m:t>𝑝𝑞</m:t>
                          </m:r>
                        </m:sub>
                        <m:sup/>
                        <m:e>
                          <m:nary>
                            <m:naryPr>
                              <m:chr m:val="∑"/>
                              <m:supHide m:val="on"/>
                              <m:ctrlPr>
                                <a:rPr lang="en-US" sz="1600" b="0" i="1" smtClean="0">
                                  <a:latin typeface="Cambria Math" panose="02040503050406030204" pitchFamily="18" charset="0"/>
                                </a:rPr>
                              </m:ctrlPr>
                            </m:naryPr>
                            <m:sub>
                              <m:r>
                                <a:rPr lang="en-US" sz="1600" b="0" i="1" smtClean="0">
                                  <a:latin typeface="Cambria Math" panose="02040503050406030204" pitchFamily="18" charset="0"/>
                                </a:rPr>
                                <m:t>𝑟𝑠𝑡</m:t>
                              </m:r>
                            </m:sub>
                            <m:sup/>
                            <m:e>
                              <m:sSub>
                                <m:sSubPr>
                                  <m:ctrlPr>
                                    <a:rPr lang="en-US" sz="1600" b="0" i="1" smtClean="0">
                                      <a:latin typeface="Cambria Math" panose="02040503050406030204" pitchFamily="18" charset="0"/>
                                    </a:rPr>
                                  </m:ctrlPr>
                                </m:sSubPr>
                                <m:e>
                                  <m:r>
                                    <m:rPr>
                                      <m:sty m:val="p"/>
                                    </m:rPr>
                                    <a:rPr lang="en-US" sz="1600" b="0" i="0" smtClean="0">
                                      <a:latin typeface="Cambria Math" panose="02040503050406030204" pitchFamily="18" charset="0"/>
                                    </a:rPr>
                                    <m:t>Γ</m:t>
                                  </m:r>
                                </m:e>
                                <m:sub>
                                  <m:r>
                                    <a:rPr lang="en-US" sz="1600" b="0" i="1" smtClean="0">
                                      <a:latin typeface="Cambria Math" panose="02040503050406030204" pitchFamily="18" charset="0"/>
                                    </a:rPr>
                                    <m:t>𝑞𝑟𝑠𝑡</m:t>
                                  </m:r>
                                </m:sub>
                              </m:sSub>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𝑔</m:t>
                                  </m:r>
                                </m:e>
                                <m:sub>
                                  <m:r>
                                    <a:rPr lang="en-US" sz="1600" b="0" i="1" smtClean="0">
                                      <a:latin typeface="Cambria Math" panose="02040503050406030204" pitchFamily="18" charset="0"/>
                                    </a:rPr>
                                    <m:t>𝑝𝑟𝑠𝑡</m:t>
                                  </m:r>
                                </m:sub>
                              </m:sSub>
                              <m:f>
                                <m:fPr>
                                  <m:ctrlPr>
                                    <a:rPr lang="en-US" sz="1600" b="0" i="1" smtClean="0">
                                      <a:latin typeface="Cambria Math" panose="02040503050406030204" pitchFamily="18" charset="0"/>
                                    </a:rPr>
                                  </m:ctrlPr>
                                </m:fPr>
                                <m:num>
                                  <m:r>
                                    <m:rPr>
                                      <m:sty m:val="p"/>
                                    </m:rPr>
                                    <a:rPr lang="en-US" sz="1600" b="0" i="0" smtClean="0">
                                      <a:latin typeface="Cambria Math" panose="02040503050406030204" pitchFamily="18" charset="0"/>
                                    </a:rPr>
                                    <m:t>d</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𝑆</m:t>
                                      </m:r>
                                    </m:e>
                                    <m:sub>
                                      <m:r>
                                        <a:rPr lang="en-US" sz="1600" b="0" i="1" smtClean="0">
                                          <a:latin typeface="Cambria Math" panose="02040503050406030204" pitchFamily="18" charset="0"/>
                                        </a:rPr>
                                        <m:t>𝑝𝑞</m:t>
                                      </m:r>
                                    </m:sub>
                                  </m:sSub>
                                </m:num>
                                <m:den>
                                  <m:r>
                                    <m:rPr>
                                      <m:sty m:val="p"/>
                                    </m:rPr>
                                    <a:rPr lang="en-US" sz="1600" b="0" i="0" smtClean="0">
                                      <a:latin typeface="Cambria Math" panose="02040503050406030204" pitchFamily="18" charset="0"/>
                                    </a:rPr>
                                    <m:t>d</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𝑅</m:t>
                                      </m:r>
                                    </m:e>
                                    <m:sub>
                                      <m:r>
                                        <a:rPr lang="en-US" sz="1600" b="0" i="1" smtClean="0">
                                          <a:latin typeface="Cambria Math" panose="02040503050406030204" pitchFamily="18" charset="0"/>
                                        </a:rPr>
                                        <m:t>𝐼</m:t>
                                      </m:r>
                                    </m:sub>
                                  </m:sSub>
                                </m:den>
                              </m:f>
                            </m:e>
                          </m:nary>
                        </m:e>
                      </m:nary>
                    </m:oMath>
                  </m:oMathPara>
                </a14:m>
                <a:endParaRPr lang="en-US" sz="1600" dirty="0"/>
              </a:p>
            </p:txBody>
          </p:sp>
        </mc:Choice>
        <mc:Fallback xmlns="">
          <p:sp>
            <p:nvSpPr>
              <p:cNvPr id="2" name="Content Placeholder 1">
                <a:extLst>
                  <a:ext uri="{FF2B5EF4-FFF2-40B4-BE49-F238E27FC236}">
                    <a16:creationId xmlns:a16="http://schemas.microsoft.com/office/drawing/2014/main" id="{D2B9FEB2-3C21-4A73-A231-BFF9A7F694CB}"/>
                  </a:ext>
                </a:extLst>
              </p:cNvPr>
              <p:cNvSpPr>
                <a:spLocks noGrp="1" noRot="1" noChangeAspect="1" noMove="1" noResize="1" noEditPoints="1" noAdjustHandles="1" noChangeArrowheads="1" noChangeShapeType="1" noTextEdit="1"/>
              </p:cNvSpPr>
              <p:nvPr>
                <p:ph idx="1"/>
              </p:nvPr>
            </p:nvSpPr>
            <p:spPr>
              <a:xfrm>
                <a:off x="367575" y="1200151"/>
                <a:ext cx="8648678" cy="3394472"/>
              </a:xfrm>
              <a:blipFill>
                <a:blip r:embed="rId2"/>
                <a:stretch>
                  <a:fillRect l="-1621" t="-2334"/>
                </a:stretch>
              </a:blipFill>
            </p:spPr>
            <p:txBody>
              <a:bodyPr/>
              <a:lstStyle/>
              <a:p>
                <a:r>
                  <a:rPr lang="en-US">
                    <a:noFill/>
                  </a:rPr>
                  <a:t> </a:t>
                </a:r>
              </a:p>
            </p:txBody>
          </p:sp>
        </mc:Fallback>
      </mc:AlternateContent>
      <p:sp>
        <p:nvSpPr>
          <p:cNvPr id="4" name="Slide Number Placeholder 3">
            <a:extLst>
              <a:ext uri="{FF2B5EF4-FFF2-40B4-BE49-F238E27FC236}">
                <a16:creationId xmlns:a16="http://schemas.microsoft.com/office/drawing/2014/main" id="{C0C49467-CD00-4BFD-B805-45AB5D66C60C}"/>
              </a:ext>
            </a:extLst>
          </p:cNvPr>
          <p:cNvSpPr>
            <a:spLocks noGrp="1"/>
          </p:cNvSpPr>
          <p:nvPr>
            <p:ph type="sldNum" sz="quarter" idx="12"/>
          </p:nvPr>
        </p:nvSpPr>
        <p:spPr/>
        <p:txBody>
          <a:bodyPr/>
          <a:lstStyle/>
          <a:p>
            <a:fld id="{143B55C4-4F5A-416B-997D-6CE47EB0A945}" type="slidenum">
              <a:rPr lang="en-GB" noProof="0" smtClean="0"/>
              <a:t>23</a:t>
            </a:fld>
            <a:endParaRPr lang="en-GB" noProof="0" dirty="0"/>
          </a:p>
        </p:txBody>
      </p:sp>
      <p:sp>
        <p:nvSpPr>
          <p:cNvPr id="5" name="Title 4">
            <a:extLst>
              <a:ext uri="{FF2B5EF4-FFF2-40B4-BE49-F238E27FC236}">
                <a16:creationId xmlns:a16="http://schemas.microsoft.com/office/drawing/2014/main" id="{A5021E82-E63E-4094-A2C7-22CA0867FD12}"/>
              </a:ext>
            </a:extLst>
          </p:cNvPr>
          <p:cNvSpPr>
            <a:spLocks noGrp="1"/>
          </p:cNvSpPr>
          <p:nvPr>
            <p:ph type="title"/>
          </p:nvPr>
        </p:nvSpPr>
        <p:spPr/>
        <p:txBody>
          <a:bodyPr/>
          <a:lstStyle/>
          <a:p>
            <a:r>
              <a:rPr lang="en-US" dirty="0"/>
              <a:t>Derivatives with respect to the overlap matrix</a:t>
            </a:r>
          </a:p>
        </p:txBody>
      </p:sp>
      <p:sp>
        <p:nvSpPr>
          <p:cNvPr id="6" name="TextBox 5">
            <a:extLst>
              <a:ext uri="{FF2B5EF4-FFF2-40B4-BE49-F238E27FC236}">
                <a16:creationId xmlns:a16="http://schemas.microsoft.com/office/drawing/2014/main" id="{5BE13483-D646-460F-ADCF-40CBFDDB4A68}"/>
              </a:ext>
            </a:extLst>
          </p:cNvPr>
          <p:cNvSpPr txBox="1"/>
          <p:nvPr/>
        </p:nvSpPr>
        <p:spPr>
          <a:xfrm>
            <a:off x="3738282" y="2164977"/>
            <a:ext cx="2395849" cy="184666"/>
          </a:xfrm>
          <a:prstGeom prst="rect">
            <a:avLst/>
          </a:prstGeom>
          <a:noFill/>
        </p:spPr>
        <p:txBody>
          <a:bodyPr wrap="none" lIns="0" tIns="0" rIns="0" bIns="0" rtlCol="0">
            <a:spAutoFit/>
          </a:bodyPr>
          <a:lstStyle/>
          <a:p>
            <a:r>
              <a:rPr lang="en-US" sz="1200" dirty="0">
                <a:solidFill>
                  <a:srgbClr val="336699"/>
                </a:solidFill>
              </a:rPr>
              <a:t>See appendix A in Arxiv:2111.12437</a:t>
            </a:r>
          </a:p>
        </p:txBody>
      </p:sp>
    </p:spTree>
    <p:extLst>
      <p:ext uri="{BB962C8B-B14F-4D97-AF65-F5344CB8AC3E}">
        <p14:creationId xmlns:p14="http://schemas.microsoft.com/office/powerpoint/2010/main" val="3844242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Content Placeholder 1">
                <a:extLst>
                  <a:ext uri="{FF2B5EF4-FFF2-40B4-BE49-F238E27FC236}">
                    <a16:creationId xmlns:a16="http://schemas.microsoft.com/office/drawing/2014/main" id="{1AB2DCFA-BDEF-4D45-992C-7A95E307BCFF}"/>
                  </a:ext>
                </a:extLst>
              </p:cNvPr>
              <p:cNvSpPr>
                <a:spLocks noGrp="1"/>
              </p:cNvSpPr>
              <p:nvPr>
                <p:ph idx="1"/>
              </p:nvPr>
            </p:nvSpPr>
            <p:spPr>
              <a:xfrm>
                <a:off x="761302" y="1106302"/>
                <a:ext cx="7912531" cy="3394472"/>
              </a:xfrm>
            </p:spPr>
            <p:txBody>
              <a:bodyPr/>
              <a:lstStyle/>
              <a:p>
                <a:pPr marL="0" indent="0">
                  <a:buNone/>
                </a:pPr>
                <a:r>
                  <a:rPr lang="en-US" sz="1800" dirty="0"/>
                  <a:t>Putting everything together:</a:t>
                </a:r>
              </a:p>
              <a:p>
                <a:pPr marL="0" indent="0">
                  <a:buNone/>
                </a:pPr>
                <a14:m>
                  <m:oMathPara xmlns:m="http://schemas.openxmlformats.org/officeDocument/2006/math">
                    <m:oMathParaPr>
                      <m:jc m:val="left"/>
                    </m:oMathParaPr>
                    <m:oMath xmlns:m="http://schemas.openxmlformats.org/officeDocument/2006/math">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r>
                            <a:rPr lang="en-US" sz="1600" i="1">
                              <a:latin typeface="Cambria Math" panose="02040503050406030204" pitchFamily="18" charset="0"/>
                            </a:rPr>
                            <m:t>𝐸</m:t>
                          </m:r>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r>
                        <m:rPr>
                          <m:aln/>
                        </m:rPr>
                        <a:rPr lang="en-US" sz="1600" b="0" i="1" smtClean="0">
                          <a:latin typeface="Cambria Math" panose="02040503050406030204" pitchFamily="18" charset="0"/>
                        </a:rPr>
                        <m:t>=</m:t>
                      </m:r>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𝑝𝑞</m:t>
                          </m:r>
                        </m:sub>
                        <m:sup/>
                        <m:e>
                          <m:sSub>
                            <m:sSubPr>
                              <m:ctrlPr>
                                <a:rPr lang="en-US" sz="1600" i="1">
                                  <a:latin typeface="Cambria Math" panose="02040503050406030204" pitchFamily="18" charset="0"/>
                                </a:rPr>
                              </m:ctrlPr>
                            </m:sSubPr>
                            <m:e>
                              <m:r>
                                <a:rPr lang="en-US" sz="1600" i="1">
                                  <a:latin typeface="Cambria Math" panose="02040503050406030204" pitchFamily="18" charset="0"/>
                                </a:rPr>
                                <m:t>𝛾</m:t>
                              </m:r>
                            </m:e>
                            <m:sub>
                              <m:r>
                                <a:rPr lang="en-US" sz="1600" i="1">
                                  <a:latin typeface="Cambria Math" panose="02040503050406030204" pitchFamily="18" charset="0"/>
                                </a:rPr>
                                <m:t>𝑝𝑞</m:t>
                              </m:r>
                            </m:sub>
                          </m:sSub>
                          <m:f>
                            <m:fPr>
                              <m:ctrlPr>
                                <a:rPr lang="en-US" sz="1600" i="1">
                                  <a:latin typeface="Cambria Math" panose="02040503050406030204" pitchFamily="18" charset="0"/>
                                </a:rPr>
                              </m:ctrlPr>
                            </m:fPr>
                            <m:num>
                              <m:sSub>
                                <m:sSubPr>
                                  <m:ctrlPr>
                                    <a:rPr lang="en-US" sz="1600" i="1">
                                      <a:latin typeface="Cambria Math" panose="02040503050406030204" pitchFamily="18" charset="0"/>
                                    </a:rPr>
                                  </m:ctrlPr>
                                </m:sSubPr>
                                <m:e>
                                  <m:r>
                                    <m:rPr>
                                      <m:sty m:val="p"/>
                                    </m:rPr>
                                    <a:rPr lang="en-US" sz="1600">
                                      <a:latin typeface="Cambria Math" panose="02040503050406030204" pitchFamily="18" charset="0"/>
                                    </a:rPr>
                                    <m:t>d</m:t>
                                  </m:r>
                                  <m:r>
                                    <a:rPr lang="en-US" sz="1600" i="1">
                                      <a:latin typeface="Cambria Math" panose="02040503050406030204" pitchFamily="18" charset="0"/>
                                    </a:rPr>
                                    <m:t>h</m:t>
                                  </m:r>
                                </m:e>
                                <m:sub>
                                  <m:r>
                                    <a:rPr lang="en-US" sz="1600" b="0" i="1" smtClean="0">
                                      <a:latin typeface="Cambria Math" panose="02040503050406030204" pitchFamily="18" charset="0"/>
                                    </a:rPr>
                                    <m:t>𝑝𝑞</m:t>
                                  </m:r>
                                </m:sub>
                              </m:sSub>
                            </m:num>
                            <m:den>
                              <m:sSub>
                                <m:sSubPr>
                                  <m:ctrlPr>
                                    <a:rPr lang="en-US" sz="1600" i="1">
                                      <a:latin typeface="Cambria Math" panose="02040503050406030204" pitchFamily="18" charset="0"/>
                                    </a:rPr>
                                  </m:ctrlPr>
                                </m:sSubPr>
                                <m:e>
                                  <m:r>
                                    <m:rPr>
                                      <m:sty m:val="p"/>
                                    </m:rPr>
                                    <a:rPr lang="en-US" sz="1600">
                                      <a:latin typeface="Cambria Math" panose="02040503050406030204" pitchFamily="18" charset="0"/>
                                    </a:rPr>
                                    <m:t>dR</m:t>
                                  </m:r>
                                </m:e>
                                <m:sub>
                                  <m:r>
                                    <m:rPr>
                                      <m:sty m:val="p"/>
                                    </m:rPr>
                                    <a:rPr lang="en-US" sz="1600">
                                      <a:latin typeface="Cambria Math" panose="02040503050406030204" pitchFamily="18" charset="0"/>
                                    </a:rPr>
                                    <m:t>I</m:t>
                                  </m:r>
                                </m:sub>
                              </m:sSub>
                            </m:den>
                          </m:f>
                        </m:e>
                      </m:nary>
                      <m:r>
                        <a:rPr lang="en-US" sz="1600" i="1">
                          <a:latin typeface="Cambria Math" panose="02040503050406030204" pitchFamily="18" charset="0"/>
                        </a:rPr>
                        <m:t>+</m:t>
                      </m:r>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𝑝𝑞𝑟𝑠</m:t>
                          </m:r>
                        </m:sub>
                        <m:sup/>
                        <m:e>
                          <m:sSub>
                            <m:sSubPr>
                              <m:ctrlPr>
                                <a:rPr lang="en-US" sz="1600" i="1">
                                  <a:latin typeface="Cambria Math" panose="02040503050406030204" pitchFamily="18" charset="0"/>
                                </a:rPr>
                              </m:ctrlPr>
                            </m:sSubPr>
                            <m:e>
                              <m:r>
                                <m:rPr>
                                  <m:sty m:val="p"/>
                                </m:rPr>
                                <a:rPr lang="en-US" sz="1600">
                                  <a:latin typeface="Cambria Math" panose="02040503050406030204" pitchFamily="18" charset="0"/>
                                </a:rPr>
                                <m:t>Γ</m:t>
                              </m:r>
                            </m:e>
                            <m:sub>
                              <m:r>
                                <a:rPr lang="en-US" sz="1600" i="1">
                                  <a:latin typeface="Cambria Math" panose="02040503050406030204" pitchFamily="18" charset="0"/>
                                </a:rPr>
                                <m:t>𝑝𝑞𝑟𝑠</m:t>
                              </m:r>
                            </m:sub>
                          </m:sSub>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𝑔</m:t>
                                  </m:r>
                                </m:e>
                                <m:sub>
                                  <m:r>
                                    <a:rPr lang="en-US" sz="1600" b="0" i="1" smtClean="0">
                                      <a:latin typeface="Cambria Math" panose="02040503050406030204" pitchFamily="18" charset="0"/>
                                    </a:rPr>
                                    <m:t>𝑝𝑞𝑟𝑠</m:t>
                                  </m:r>
                                </m:sub>
                              </m:sSub>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e>
                      </m:nary>
                      <m:r>
                        <a:rPr lang="en-US" sz="1600" i="1">
                          <a:latin typeface="Cambria Math" panose="02040503050406030204" pitchFamily="18" charset="0"/>
                        </a:rPr>
                        <m:t>−</m:t>
                      </m:r>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𝑝𝑞𝑚</m:t>
                          </m:r>
                        </m:sub>
                        <m:sup/>
                        <m:e>
                          <m:sSub>
                            <m:sSubPr>
                              <m:ctrlPr>
                                <a:rPr lang="en-US" sz="1600" i="1">
                                  <a:latin typeface="Cambria Math" panose="02040503050406030204" pitchFamily="18" charset="0"/>
                                </a:rPr>
                              </m:ctrlPr>
                            </m:sSubPr>
                            <m:e>
                              <m:r>
                                <a:rPr lang="en-US" sz="1600" i="1">
                                  <a:latin typeface="Cambria Math" panose="02040503050406030204" pitchFamily="18" charset="0"/>
                                </a:rPr>
                                <m:t>𝛾</m:t>
                              </m:r>
                            </m:e>
                            <m:sub>
                              <m:r>
                                <a:rPr lang="en-US" sz="1600" i="1">
                                  <a:latin typeface="Cambria Math" panose="02040503050406030204" pitchFamily="18" charset="0"/>
                                </a:rPr>
                                <m:t>𝑞𝑚</m:t>
                              </m:r>
                            </m:sub>
                          </m:sSub>
                          <m:sSub>
                            <m:sSubPr>
                              <m:ctrlPr>
                                <a:rPr lang="en-US" sz="1600" i="1">
                                  <a:latin typeface="Cambria Math" panose="02040503050406030204" pitchFamily="18" charset="0"/>
                                </a:rPr>
                              </m:ctrlPr>
                            </m:sSubPr>
                            <m:e>
                              <m:r>
                                <a:rPr lang="en-US" sz="1600" i="1">
                                  <a:latin typeface="Cambria Math" panose="02040503050406030204" pitchFamily="18" charset="0"/>
                                </a:rPr>
                                <m:t>h</m:t>
                              </m:r>
                            </m:e>
                            <m:sub>
                              <m:r>
                                <a:rPr lang="en-US" sz="1600" i="1">
                                  <a:latin typeface="Cambria Math" panose="02040503050406030204" pitchFamily="18" charset="0"/>
                                </a:rPr>
                                <m:t>𝑞𝑚</m:t>
                              </m:r>
                            </m:sub>
                          </m:sSub>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𝑆</m:t>
                                  </m:r>
                                </m:e>
                                <m:sub>
                                  <m:r>
                                    <a:rPr lang="en-US" sz="1600" i="1">
                                      <a:latin typeface="Cambria Math" panose="02040503050406030204" pitchFamily="18" charset="0"/>
                                    </a:rPr>
                                    <m:t>𝑝𝑞</m:t>
                                  </m:r>
                                </m:sub>
                              </m:sSub>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e>
                      </m:nary>
                      <m:r>
                        <a:rPr lang="en-US" sz="1600" i="1">
                          <a:latin typeface="Cambria Math" panose="02040503050406030204" pitchFamily="18" charset="0"/>
                        </a:rPr>
                        <m:t>−2</m:t>
                      </m:r>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𝑝𝑞</m:t>
                          </m:r>
                        </m:sub>
                        <m:sup/>
                        <m:e>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𝑟𝑠𝑡</m:t>
                              </m:r>
                            </m:sub>
                            <m:sup/>
                            <m:e>
                              <m:sSub>
                                <m:sSubPr>
                                  <m:ctrlPr>
                                    <a:rPr lang="en-US" sz="1600" i="1">
                                      <a:latin typeface="Cambria Math" panose="02040503050406030204" pitchFamily="18" charset="0"/>
                                    </a:rPr>
                                  </m:ctrlPr>
                                </m:sSubPr>
                                <m:e>
                                  <m:r>
                                    <m:rPr>
                                      <m:sty m:val="p"/>
                                    </m:rPr>
                                    <a:rPr lang="en-US" sz="1600">
                                      <a:latin typeface="Cambria Math" panose="02040503050406030204" pitchFamily="18" charset="0"/>
                                    </a:rPr>
                                    <m:t>Γ</m:t>
                                  </m:r>
                                </m:e>
                                <m:sub>
                                  <m:r>
                                    <a:rPr lang="en-US" sz="1600" i="1">
                                      <a:latin typeface="Cambria Math" panose="02040503050406030204" pitchFamily="18" charset="0"/>
                                    </a:rPr>
                                    <m:t>𝑞𝑟𝑠𝑡</m:t>
                                  </m:r>
                                </m:sub>
                              </m:sSub>
                              <m:sSub>
                                <m:sSubPr>
                                  <m:ctrlPr>
                                    <a:rPr lang="en-US" sz="1600" i="1">
                                      <a:latin typeface="Cambria Math" panose="02040503050406030204" pitchFamily="18" charset="0"/>
                                    </a:rPr>
                                  </m:ctrlPr>
                                </m:sSubPr>
                                <m:e>
                                  <m:r>
                                    <a:rPr lang="en-US" sz="1600" i="1">
                                      <a:latin typeface="Cambria Math" panose="02040503050406030204" pitchFamily="18" charset="0"/>
                                    </a:rPr>
                                    <m:t>𝑔</m:t>
                                  </m:r>
                                </m:e>
                                <m:sub>
                                  <m:r>
                                    <a:rPr lang="en-US" sz="1600" i="1">
                                      <a:latin typeface="Cambria Math" panose="02040503050406030204" pitchFamily="18" charset="0"/>
                                    </a:rPr>
                                    <m:t>𝑝𝑟𝑠𝑡</m:t>
                                  </m:r>
                                </m:sub>
                              </m:sSub>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𝑆</m:t>
                                      </m:r>
                                    </m:e>
                                    <m:sub>
                                      <m:r>
                                        <a:rPr lang="en-US" sz="1600" i="1">
                                          <a:latin typeface="Cambria Math" panose="02040503050406030204" pitchFamily="18" charset="0"/>
                                        </a:rPr>
                                        <m:t>𝑝𝑞</m:t>
                                      </m:r>
                                    </m:sub>
                                  </m:sSub>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e>
                          </m:nary>
                        </m:e>
                      </m:nary>
                    </m:oMath>
                    <m:oMath xmlns:m="http://schemas.openxmlformats.org/officeDocument/2006/math">
                      <m:r>
                        <m:rPr>
                          <m:aln/>
                        </m:rPr>
                        <a:rPr lang="en-US" sz="1600" i="1">
                          <a:latin typeface="Cambria Math" panose="02040503050406030204" pitchFamily="18" charset="0"/>
                        </a:rPr>
                        <m:t>=</m:t>
                      </m:r>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𝑝𝑞</m:t>
                          </m:r>
                        </m:sub>
                        <m:sup/>
                        <m:e>
                          <m:sSub>
                            <m:sSubPr>
                              <m:ctrlPr>
                                <a:rPr lang="en-US" sz="1600" i="1">
                                  <a:latin typeface="Cambria Math" panose="02040503050406030204" pitchFamily="18" charset="0"/>
                                </a:rPr>
                              </m:ctrlPr>
                            </m:sSubPr>
                            <m:e>
                              <m:r>
                                <a:rPr lang="en-US" sz="1600" i="1">
                                  <a:latin typeface="Cambria Math" panose="02040503050406030204" pitchFamily="18" charset="0"/>
                                </a:rPr>
                                <m:t>𝛾</m:t>
                              </m:r>
                            </m:e>
                            <m:sub>
                              <m:r>
                                <a:rPr lang="en-US" sz="1600" i="1">
                                  <a:latin typeface="Cambria Math" panose="02040503050406030204" pitchFamily="18" charset="0"/>
                                </a:rPr>
                                <m:t>𝑝𝑞</m:t>
                              </m:r>
                            </m:sub>
                          </m:sSub>
                          <m:d>
                            <m:dPr>
                              <m:ctrlPr>
                                <a:rPr lang="en-US" sz="1600" i="1" smtClean="0">
                                  <a:latin typeface="Cambria Math" panose="02040503050406030204" pitchFamily="18" charset="0"/>
                                </a:rPr>
                              </m:ctrlPr>
                            </m:dPr>
                            <m:e>
                              <m:f>
                                <m:fPr>
                                  <m:ctrlPr>
                                    <a:rPr lang="en-US" sz="1600" i="1">
                                      <a:latin typeface="Cambria Math" panose="02040503050406030204" pitchFamily="18" charset="0"/>
                                    </a:rPr>
                                  </m:ctrlPr>
                                </m:fPr>
                                <m:num>
                                  <m:sSub>
                                    <m:sSubPr>
                                      <m:ctrlPr>
                                        <a:rPr lang="en-US" sz="1600" i="1">
                                          <a:latin typeface="Cambria Math" panose="02040503050406030204" pitchFamily="18" charset="0"/>
                                        </a:rPr>
                                      </m:ctrlPr>
                                    </m:sSubPr>
                                    <m:e>
                                      <m:r>
                                        <m:rPr>
                                          <m:sty m:val="p"/>
                                        </m:rPr>
                                        <a:rPr lang="en-US" sz="1600">
                                          <a:latin typeface="Cambria Math" panose="02040503050406030204" pitchFamily="18" charset="0"/>
                                        </a:rPr>
                                        <m:t>d</m:t>
                                      </m:r>
                                      <m:r>
                                        <a:rPr lang="en-US" sz="1600" i="1">
                                          <a:latin typeface="Cambria Math" panose="02040503050406030204" pitchFamily="18" charset="0"/>
                                        </a:rPr>
                                        <m:t>h</m:t>
                                      </m:r>
                                    </m:e>
                                    <m:sub>
                                      <m:r>
                                        <a:rPr lang="en-US" sz="1600" i="1">
                                          <a:latin typeface="Cambria Math" panose="02040503050406030204" pitchFamily="18" charset="0"/>
                                        </a:rPr>
                                        <m:t>𝑝𝑞</m:t>
                                      </m:r>
                                    </m:sub>
                                  </m:sSub>
                                </m:num>
                                <m:den>
                                  <m:sSub>
                                    <m:sSubPr>
                                      <m:ctrlPr>
                                        <a:rPr lang="en-US" sz="1600" i="1">
                                          <a:latin typeface="Cambria Math" panose="02040503050406030204" pitchFamily="18" charset="0"/>
                                        </a:rPr>
                                      </m:ctrlPr>
                                    </m:sSubPr>
                                    <m:e>
                                      <m:r>
                                        <m:rPr>
                                          <m:sty m:val="p"/>
                                        </m:rPr>
                                        <a:rPr lang="en-US" sz="1600">
                                          <a:latin typeface="Cambria Math" panose="02040503050406030204" pitchFamily="18" charset="0"/>
                                        </a:rPr>
                                        <m:t>dR</m:t>
                                      </m:r>
                                    </m:e>
                                    <m:sub>
                                      <m:r>
                                        <m:rPr>
                                          <m:sty m:val="p"/>
                                        </m:rPr>
                                        <a:rPr lang="en-US" sz="1600">
                                          <a:latin typeface="Cambria Math" panose="02040503050406030204" pitchFamily="18" charset="0"/>
                                        </a:rPr>
                                        <m:t>I</m:t>
                                      </m:r>
                                    </m:sub>
                                  </m:sSub>
                                </m:den>
                              </m:f>
                              <m:r>
                                <a:rPr lang="en-US" sz="1600" b="0" i="1" smtClean="0">
                                  <a:latin typeface="Cambria Math" panose="02040503050406030204" pitchFamily="18" charset="0"/>
                                </a:rPr>
                                <m:t>−</m:t>
                              </m:r>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𝑚</m:t>
                                  </m:r>
                                </m:sub>
                                <m:sup/>
                                <m:e>
                                  <m:sSub>
                                    <m:sSubPr>
                                      <m:ctrlPr>
                                        <a:rPr lang="en-US" sz="1600" i="1">
                                          <a:latin typeface="Cambria Math" panose="02040503050406030204" pitchFamily="18" charset="0"/>
                                        </a:rPr>
                                      </m:ctrlPr>
                                    </m:sSubPr>
                                    <m:e>
                                      <m:r>
                                        <a:rPr lang="en-US" sz="1600" i="1">
                                          <a:latin typeface="Cambria Math" panose="02040503050406030204" pitchFamily="18" charset="0"/>
                                        </a:rPr>
                                        <m:t>h</m:t>
                                      </m:r>
                                    </m:e>
                                    <m:sub>
                                      <m:r>
                                        <a:rPr lang="en-US" sz="1600" b="0" i="1" smtClean="0">
                                          <a:latin typeface="Cambria Math" panose="02040503050406030204" pitchFamily="18" charset="0"/>
                                        </a:rPr>
                                        <m:t>𝑚𝑞</m:t>
                                      </m:r>
                                    </m:sub>
                                  </m:sSub>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𝑆</m:t>
                                          </m:r>
                                        </m:e>
                                        <m:sub>
                                          <m:r>
                                            <a:rPr lang="en-US" sz="1600" b="0" i="1" smtClean="0">
                                              <a:latin typeface="Cambria Math" panose="02040503050406030204" pitchFamily="18" charset="0"/>
                                            </a:rPr>
                                            <m:t>𝑚𝑝</m:t>
                                          </m:r>
                                        </m:sub>
                                      </m:sSub>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e>
                              </m:nary>
                            </m:e>
                          </m:d>
                        </m:e>
                      </m:nary>
                      <m:r>
                        <a:rPr lang="en-US" sz="1600" i="1">
                          <a:latin typeface="Cambria Math" panose="02040503050406030204" pitchFamily="18" charset="0"/>
                        </a:rPr>
                        <m:t>+</m:t>
                      </m:r>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𝑝𝑞𝑟𝑠</m:t>
                          </m:r>
                        </m:sub>
                        <m:sup/>
                        <m:e>
                          <m:sSub>
                            <m:sSubPr>
                              <m:ctrlPr>
                                <a:rPr lang="en-US" sz="1600" i="1">
                                  <a:latin typeface="Cambria Math" panose="02040503050406030204" pitchFamily="18" charset="0"/>
                                </a:rPr>
                              </m:ctrlPr>
                            </m:sSubPr>
                            <m:e>
                              <m:r>
                                <m:rPr>
                                  <m:sty m:val="p"/>
                                </m:rPr>
                                <a:rPr lang="en-US" sz="1600">
                                  <a:latin typeface="Cambria Math" panose="02040503050406030204" pitchFamily="18" charset="0"/>
                                </a:rPr>
                                <m:t>Γ</m:t>
                              </m:r>
                            </m:e>
                            <m:sub>
                              <m:r>
                                <a:rPr lang="en-US" sz="1600" i="1">
                                  <a:latin typeface="Cambria Math" panose="02040503050406030204" pitchFamily="18" charset="0"/>
                                </a:rPr>
                                <m:t>𝑝𝑞𝑟𝑠</m:t>
                              </m:r>
                            </m:sub>
                          </m:sSub>
                          <m:d>
                            <m:dPr>
                              <m:ctrlPr>
                                <a:rPr lang="en-US" sz="1600" i="1" smtClean="0">
                                  <a:latin typeface="Cambria Math" panose="02040503050406030204" pitchFamily="18" charset="0"/>
                                </a:rPr>
                              </m:ctrlPr>
                            </m:dPr>
                            <m:e>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𝑔</m:t>
                                      </m:r>
                                    </m:e>
                                    <m:sub>
                                      <m:r>
                                        <a:rPr lang="en-US" sz="1600" i="1">
                                          <a:latin typeface="Cambria Math" panose="02040503050406030204" pitchFamily="18" charset="0"/>
                                        </a:rPr>
                                        <m:t>𝑝𝑞𝑟𝑠</m:t>
                                      </m:r>
                                    </m:sub>
                                  </m:sSub>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r>
                                <a:rPr lang="en-US" sz="1600" i="1" smtClean="0">
                                  <a:latin typeface="Cambria Math" panose="02040503050406030204" pitchFamily="18" charset="0"/>
                                </a:rPr>
                                <m:t>−2</m:t>
                              </m:r>
                              <m:nary>
                                <m:naryPr>
                                  <m:chr m:val="∑"/>
                                  <m:supHide m:val="on"/>
                                  <m:ctrlPr>
                                    <a:rPr lang="en-US" sz="1600" i="1">
                                      <a:latin typeface="Cambria Math" panose="02040503050406030204" pitchFamily="18" charset="0"/>
                                    </a:rPr>
                                  </m:ctrlPr>
                                </m:naryPr>
                                <m:sub>
                                  <m:r>
                                    <a:rPr lang="en-US" sz="1600" b="0" i="1" smtClean="0">
                                      <a:latin typeface="Cambria Math" panose="02040503050406030204" pitchFamily="18" charset="0"/>
                                    </a:rPr>
                                    <m:t>𝑡</m:t>
                                  </m:r>
                                </m:sub>
                                <m:sup/>
                                <m:e>
                                  <m:sSub>
                                    <m:sSubPr>
                                      <m:ctrlPr>
                                        <a:rPr lang="en-US" sz="1600" i="1" smtClean="0">
                                          <a:latin typeface="Cambria Math" panose="02040503050406030204" pitchFamily="18" charset="0"/>
                                        </a:rPr>
                                      </m:ctrlPr>
                                    </m:sSubPr>
                                    <m:e>
                                      <m:r>
                                        <a:rPr lang="en-US" sz="1600" i="1">
                                          <a:latin typeface="Cambria Math" panose="02040503050406030204" pitchFamily="18" charset="0"/>
                                        </a:rPr>
                                        <m:t>𝑔</m:t>
                                      </m:r>
                                    </m:e>
                                    <m:sub>
                                      <m:r>
                                        <a:rPr lang="en-US" sz="1600" b="0" i="1" smtClean="0">
                                          <a:latin typeface="Cambria Math" panose="02040503050406030204" pitchFamily="18" charset="0"/>
                                        </a:rPr>
                                        <m:t>𝑡𝑞𝑟𝑠</m:t>
                                      </m:r>
                                    </m:sub>
                                  </m:sSub>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𝑆</m:t>
                                          </m:r>
                                        </m:e>
                                        <m:sub>
                                          <m:r>
                                            <a:rPr lang="en-US" sz="1600" b="0" i="1" smtClean="0">
                                              <a:latin typeface="Cambria Math" panose="02040503050406030204" pitchFamily="18" charset="0"/>
                                            </a:rPr>
                                            <m:t>𝑡𝑝</m:t>
                                          </m:r>
                                        </m:sub>
                                      </m:sSub>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e>
                              </m:nary>
                            </m:e>
                          </m:d>
                        </m:e>
                      </m:nary>
                    </m:oMath>
                  </m:oMathPara>
                </a14:m>
                <a:endParaRPr lang="en-US" sz="1600" dirty="0"/>
              </a:p>
              <a:p>
                <a:pPr marL="0" indent="0">
                  <a:buNone/>
                </a:pPr>
                <a:endParaRPr lang="en-US" sz="1800" dirty="0"/>
              </a:p>
              <a:p>
                <a:pPr marL="0" indent="0">
                  <a:buNone/>
                </a:pPr>
                <a:r>
                  <a:rPr lang="en-US" sz="1800" dirty="0"/>
                  <a:t>We can now convert this to an operator which consists of a 1- and 2-body part</a:t>
                </a:r>
              </a:p>
              <a:p>
                <a:pPr marL="0" indent="0">
                  <a:buNone/>
                </a:pPr>
                <a14:m>
                  <m:oMathPara xmlns:m="http://schemas.openxmlformats.org/officeDocument/2006/math">
                    <m:oMathParaPr>
                      <m:jc m:val="left"/>
                    </m:oMathParaPr>
                    <m:oMath xmlns:m="http://schemas.openxmlformats.org/officeDocument/2006/math">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r>
                            <a:rPr lang="en-US" sz="1600" i="1">
                              <a:latin typeface="Cambria Math" panose="02040503050406030204" pitchFamily="18" charset="0"/>
                            </a:rPr>
                            <m:t>𝐸</m:t>
                          </m:r>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r>
                        <m:rPr>
                          <m:aln/>
                        </m:rPr>
                        <a:rPr lang="en-US" sz="1600" i="1" smtClean="0">
                          <a:latin typeface="Cambria Math" panose="02040503050406030204" pitchFamily="18" charset="0"/>
                        </a:rPr>
                        <m:t>=</m:t>
                      </m:r>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𝑝𝑞</m:t>
                          </m:r>
                        </m:sub>
                        <m:sup/>
                        <m:e>
                          <m:sSubSup>
                            <m:sSubSupPr>
                              <m:ctrlPr>
                                <a:rPr lang="en-US" sz="1600" b="0" i="1" smtClean="0">
                                  <a:latin typeface="Cambria Math" panose="02040503050406030204" pitchFamily="18" charset="0"/>
                                </a:rPr>
                              </m:ctrlPr>
                            </m:sSubSupPr>
                            <m:e>
                              <m:r>
                                <a:rPr lang="en-US" sz="1600" b="0" i="1" smtClean="0">
                                  <a:latin typeface="Cambria Math" panose="02040503050406030204" pitchFamily="18" charset="0"/>
                                </a:rPr>
                                <m:t>𝑎</m:t>
                              </m:r>
                            </m:e>
                            <m:sub>
                              <m:r>
                                <a:rPr lang="en-US" sz="1600" b="0" i="1" smtClean="0">
                                  <a:latin typeface="Cambria Math" panose="02040503050406030204" pitchFamily="18" charset="0"/>
                                </a:rPr>
                                <m:t>𝑝</m:t>
                              </m:r>
                            </m:sub>
                            <m:sup>
                              <m:r>
                                <a:rPr lang="en-US" sz="1600" i="1">
                                  <a:latin typeface="Cambria Math" panose="02040503050406030204" pitchFamily="18" charset="0"/>
                                </a:rPr>
                                <m:t>†</m:t>
                              </m:r>
                            </m:sup>
                          </m:sSubSup>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𝑎</m:t>
                              </m:r>
                            </m:e>
                            <m:sub>
                              <m:r>
                                <a:rPr lang="en-US" sz="1600" b="0" i="1" smtClean="0">
                                  <a:latin typeface="Cambria Math" panose="02040503050406030204" pitchFamily="18" charset="0"/>
                                </a:rPr>
                                <m:t>𝑞</m:t>
                              </m:r>
                            </m:sub>
                          </m:sSub>
                          <m:d>
                            <m:dPr>
                              <m:ctrlPr>
                                <a:rPr lang="en-US" sz="1600" i="1" smtClean="0">
                                  <a:latin typeface="Cambria Math" panose="02040503050406030204" pitchFamily="18" charset="0"/>
                                </a:rPr>
                              </m:ctrlPr>
                            </m:dPr>
                            <m:e>
                              <m:f>
                                <m:fPr>
                                  <m:ctrlPr>
                                    <a:rPr lang="en-US" sz="1600" i="1">
                                      <a:latin typeface="Cambria Math" panose="02040503050406030204" pitchFamily="18" charset="0"/>
                                    </a:rPr>
                                  </m:ctrlPr>
                                </m:fPr>
                                <m:num>
                                  <m:sSub>
                                    <m:sSubPr>
                                      <m:ctrlPr>
                                        <a:rPr lang="en-US" sz="1600" i="1">
                                          <a:latin typeface="Cambria Math" panose="02040503050406030204" pitchFamily="18" charset="0"/>
                                        </a:rPr>
                                      </m:ctrlPr>
                                    </m:sSubPr>
                                    <m:e>
                                      <m:r>
                                        <m:rPr>
                                          <m:sty m:val="p"/>
                                        </m:rPr>
                                        <a:rPr lang="en-US" sz="1600">
                                          <a:latin typeface="Cambria Math" panose="02040503050406030204" pitchFamily="18" charset="0"/>
                                        </a:rPr>
                                        <m:t>d</m:t>
                                      </m:r>
                                      <m:r>
                                        <a:rPr lang="en-US" sz="1600" i="1">
                                          <a:latin typeface="Cambria Math" panose="02040503050406030204" pitchFamily="18" charset="0"/>
                                        </a:rPr>
                                        <m:t>h</m:t>
                                      </m:r>
                                    </m:e>
                                    <m:sub>
                                      <m:r>
                                        <a:rPr lang="en-US" sz="1600" i="1">
                                          <a:latin typeface="Cambria Math" panose="02040503050406030204" pitchFamily="18" charset="0"/>
                                        </a:rPr>
                                        <m:t>𝑝𝑞</m:t>
                                      </m:r>
                                    </m:sub>
                                  </m:sSub>
                                </m:num>
                                <m:den>
                                  <m:sSub>
                                    <m:sSubPr>
                                      <m:ctrlPr>
                                        <a:rPr lang="en-US" sz="1600" i="1">
                                          <a:latin typeface="Cambria Math" panose="02040503050406030204" pitchFamily="18" charset="0"/>
                                        </a:rPr>
                                      </m:ctrlPr>
                                    </m:sSubPr>
                                    <m:e>
                                      <m:r>
                                        <m:rPr>
                                          <m:sty m:val="p"/>
                                        </m:rPr>
                                        <a:rPr lang="en-US" sz="1600">
                                          <a:latin typeface="Cambria Math" panose="02040503050406030204" pitchFamily="18" charset="0"/>
                                        </a:rPr>
                                        <m:t>dR</m:t>
                                      </m:r>
                                    </m:e>
                                    <m:sub>
                                      <m:r>
                                        <m:rPr>
                                          <m:sty m:val="p"/>
                                        </m:rPr>
                                        <a:rPr lang="en-US" sz="1600">
                                          <a:latin typeface="Cambria Math" panose="02040503050406030204" pitchFamily="18" charset="0"/>
                                        </a:rPr>
                                        <m:t>I</m:t>
                                      </m:r>
                                    </m:sub>
                                  </m:sSub>
                                </m:den>
                              </m:f>
                              <m:r>
                                <a:rPr lang="en-US" sz="1600" b="0" i="1" smtClean="0">
                                  <a:latin typeface="Cambria Math" panose="02040503050406030204" pitchFamily="18" charset="0"/>
                                </a:rPr>
                                <m:t>−</m:t>
                              </m:r>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𝑚</m:t>
                                  </m:r>
                                </m:sub>
                                <m:sup/>
                                <m:e>
                                  <m:sSub>
                                    <m:sSubPr>
                                      <m:ctrlPr>
                                        <a:rPr lang="en-US" sz="1600" i="1">
                                          <a:latin typeface="Cambria Math" panose="02040503050406030204" pitchFamily="18" charset="0"/>
                                        </a:rPr>
                                      </m:ctrlPr>
                                    </m:sSubPr>
                                    <m:e>
                                      <m:r>
                                        <a:rPr lang="en-US" sz="1600" i="1">
                                          <a:latin typeface="Cambria Math" panose="02040503050406030204" pitchFamily="18" charset="0"/>
                                        </a:rPr>
                                        <m:t>h</m:t>
                                      </m:r>
                                    </m:e>
                                    <m:sub>
                                      <m:r>
                                        <a:rPr lang="en-US" sz="1600" b="0" i="1" smtClean="0">
                                          <a:latin typeface="Cambria Math" panose="02040503050406030204" pitchFamily="18" charset="0"/>
                                        </a:rPr>
                                        <m:t>𝑚𝑞</m:t>
                                      </m:r>
                                    </m:sub>
                                  </m:sSub>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𝑆</m:t>
                                          </m:r>
                                        </m:e>
                                        <m:sub>
                                          <m:r>
                                            <a:rPr lang="en-US" sz="1600" b="0" i="1" smtClean="0">
                                              <a:latin typeface="Cambria Math" panose="02040503050406030204" pitchFamily="18" charset="0"/>
                                            </a:rPr>
                                            <m:t>𝑚𝑝</m:t>
                                          </m:r>
                                        </m:sub>
                                      </m:sSub>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e>
                              </m:nary>
                            </m:e>
                          </m:d>
                        </m:e>
                      </m:nary>
                      <m:r>
                        <a:rPr lang="en-US" sz="1600" i="1">
                          <a:latin typeface="Cambria Math" panose="02040503050406030204" pitchFamily="18" charset="0"/>
                        </a:rPr>
                        <m:t>+</m:t>
                      </m:r>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𝑝𝑞𝑟𝑠</m:t>
                          </m:r>
                        </m:sub>
                        <m:sup/>
                        <m:e>
                          <m:sSubSup>
                            <m:sSubSupPr>
                              <m:ctrlPr>
                                <a:rPr lang="en-US" sz="1600" i="1">
                                  <a:latin typeface="Cambria Math" panose="02040503050406030204" pitchFamily="18" charset="0"/>
                                </a:rPr>
                              </m:ctrlPr>
                            </m:sSubSupPr>
                            <m:e>
                              <m:r>
                                <a:rPr lang="en-US" sz="1600" i="1">
                                  <a:latin typeface="Cambria Math" panose="02040503050406030204" pitchFamily="18" charset="0"/>
                                </a:rPr>
                                <m:t>𝑎</m:t>
                              </m:r>
                            </m:e>
                            <m:sub>
                              <m:r>
                                <a:rPr lang="en-US" sz="1600" i="1">
                                  <a:latin typeface="Cambria Math" panose="02040503050406030204" pitchFamily="18" charset="0"/>
                                </a:rPr>
                                <m:t>𝑝</m:t>
                              </m:r>
                            </m:sub>
                            <m:sup>
                              <m:r>
                                <a:rPr lang="en-US" sz="1600" i="1">
                                  <a:latin typeface="Cambria Math" panose="02040503050406030204" pitchFamily="18" charset="0"/>
                                </a:rPr>
                                <m:t>†</m:t>
                              </m:r>
                            </m:sup>
                          </m:sSubSup>
                          <m:sSubSup>
                            <m:sSubSupPr>
                              <m:ctrlPr>
                                <a:rPr lang="en-US" sz="1600" i="1">
                                  <a:latin typeface="Cambria Math" panose="02040503050406030204" pitchFamily="18" charset="0"/>
                                </a:rPr>
                              </m:ctrlPr>
                            </m:sSubSupPr>
                            <m:e>
                              <m:r>
                                <a:rPr lang="en-US" sz="1600" i="1">
                                  <a:latin typeface="Cambria Math" panose="02040503050406030204" pitchFamily="18" charset="0"/>
                                </a:rPr>
                                <m:t>𝑎</m:t>
                              </m:r>
                            </m:e>
                            <m:sub>
                              <m:r>
                                <a:rPr lang="en-US" sz="1600" b="0" i="1" smtClean="0">
                                  <a:latin typeface="Cambria Math" panose="02040503050406030204" pitchFamily="18" charset="0"/>
                                </a:rPr>
                                <m:t>𝑞</m:t>
                              </m:r>
                            </m:sub>
                            <m:sup>
                              <m:r>
                                <a:rPr lang="en-US" sz="1600" i="1">
                                  <a:latin typeface="Cambria Math" panose="02040503050406030204" pitchFamily="18" charset="0"/>
                                </a:rPr>
                                <m:t>†</m:t>
                              </m:r>
                            </m:sup>
                          </m:sSubSup>
                          <m:sSub>
                            <m:sSubPr>
                              <m:ctrlPr>
                                <a:rPr lang="en-US" sz="1600" i="1">
                                  <a:latin typeface="Cambria Math" panose="02040503050406030204" pitchFamily="18" charset="0"/>
                                </a:rPr>
                              </m:ctrlPr>
                            </m:sSubPr>
                            <m:e>
                              <m:r>
                                <a:rPr lang="en-US" sz="1600" i="1">
                                  <a:latin typeface="Cambria Math" panose="02040503050406030204" pitchFamily="18" charset="0"/>
                                </a:rPr>
                                <m:t>𝑎</m:t>
                              </m:r>
                            </m:e>
                            <m:sub>
                              <m:r>
                                <a:rPr lang="en-US" sz="1600" b="0" i="1" smtClean="0">
                                  <a:latin typeface="Cambria Math" panose="02040503050406030204" pitchFamily="18" charset="0"/>
                                </a:rPr>
                                <m:t>𝑟</m:t>
                              </m:r>
                            </m:sub>
                          </m:sSub>
                          <m:sSub>
                            <m:sSubPr>
                              <m:ctrlPr>
                                <a:rPr lang="en-US" sz="1600" i="1">
                                  <a:latin typeface="Cambria Math" panose="02040503050406030204" pitchFamily="18" charset="0"/>
                                </a:rPr>
                              </m:ctrlPr>
                            </m:sSubPr>
                            <m:e>
                              <m:r>
                                <a:rPr lang="en-US" sz="1600" i="1">
                                  <a:latin typeface="Cambria Math" panose="02040503050406030204" pitchFamily="18" charset="0"/>
                                </a:rPr>
                                <m:t>𝑎</m:t>
                              </m:r>
                            </m:e>
                            <m:sub>
                              <m:r>
                                <a:rPr lang="en-US" sz="1600" b="0" i="1" smtClean="0">
                                  <a:latin typeface="Cambria Math" panose="02040503050406030204" pitchFamily="18" charset="0"/>
                                </a:rPr>
                                <m:t>𝑠</m:t>
                              </m:r>
                            </m:sub>
                          </m:sSub>
                          <m:d>
                            <m:dPr>
                              <m:ctrlPr>
                                <a:rPr lang="en-US" sz="1600" i="1" smtClean="0">
                                  <a:latin typeface="Cambria Math" panose="02040503050406030204" pitchFamily="18" charset="0"/>
                                </a:rPr>
                              </m:ctrlPr>
                            </m:dPr>
                            <m:e>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𝑔</m:t>
                                      </m:r>
                                    </m:e>
                                    <m:sub>
                                      <m:r>
                                        <a:rPr lang="en-US" sz="1600" i="1">
                                          <a:latin typeface="Cambria Math" panose="02040503050406030204" pitchFamily="18" charset="0"/>
                                        </a:rPr>
                                        <m:t>𝑝𝑞𝑟𝑠</m:t>
                                      </m:r>
                                    </m:sub>
                                  </m:sSub>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r>
                                <a:rPr lang="en-US" sz="1600" i="1" smtClean="0">
                                  <a:latin typeface="Cambria Math" panose="02040503050406030204" pitchFamily="18" charset="0"/>
                                </a:rPr>
                                <m:t>−2</m:t>
                              </m:r>
                              <m:nary>
                                <m:naryPr>
                                  <m:chr m:val="∑"/>
                                  <m:supHide m:val="on"/>
                                  <m:ctrlPr>
                                    <a:rPr lang="en-US" sz="1600" i="1">
                                      <a:latin typeface="Cambria Math" panose="02040503050406030204" pitchFamily="18" charset="0"/>
                                    </a:rPr>
                                  </m:ctrlPr>
                                </m:naryPr>
                                <m:sub>
                                  <m:r>
                                    <a:rPr lang="en-US" sz="1600" b="0" i="1" smtClean="0">
                                      <a:latin typeface="Cambria Math" panose="02040503050406030204" pitchFamily="18" charset="0"/>
                                    </a:rPr>
                                    <m:t>𝑡</m:t>
                                  </m:r>
                                </m:sub>
                                <m:sup/>
                                <m:e>
                                  <m:sSub>
                                    <m:sSubPr>
                                      <m:ctrlPr>
                                        <a:rPr lang="en-US" sz="1600" i="1" smtClean="0">
                                          <a:latin typeface="Cambria Math" panose="02040503050406030204" pitchFamily="18" charset="0"/>
                                        </a:rPr>
                                      </m:ctrlPr>
                                    </m:sSubPr>
                                    <m:e>
                                      <m:r>
                                        <a:rPr lang="en-US" sz="1600" i="1">
                                          <a:latin typeface="Cambria Math" panose="02040503050406030204" pitchFamily="18" charset="0"/>
                                        </a:rPr>
                                        <m:t>𝑔</m:t>
                                      </m:r>
                                    </m:e>
                                    <m:sub>
                                      <m:r>
                                        <a:rPr lang="en-US" sz="1600" b="0" i="1" smtClean="0">
                                          <a:latin typeface="Cambria Math" panose="02040503050406030204" pitchFamily="18" charset="0"/>
                                        </a:rPr>
                                        <m:t>𝑡𝑞𝑟𝑠</m:t>
                                      </m:r>
                                    </m:sub>
                                  </m:sSub>
                                  <m:f>
                                    <m:fPr>
                                      <m:ctrlPr>
                                        <a:rPr lang="en-US" sz="1600" i="1">
                                          <a:latin typeface="Cambria Math" panose="02040503050406030204" pitchFamily="18" charset="0"/>
                                        </a:rPr>
                                      </m:ctrlPr>
                                    </m:fPr>
                                    <m:num>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𝑆</m:t>
                                          </m:r>
                                        </m:e>
                                        <m:sub>
                                          <m:r>
                                            <a:rPr lang="en-US" sz="1600" b="0" i="1" smtClean="0">
                                              <a:latin typeface="Cambria Math" panose="02040503050406030204" pitchFamily="18" charset="0"/>
                                            </a:rPr>
                                            <m:t>𝑡𝑝</m:t>
                                          </m:r>
                                        </m:sub>
                                      </m:sSub>
                                    </m:num>
                                    <m:den>
                                      <m:r>
                                        <m:rPr>
                                          <m:sty m:val="p"/>
                                        </m:rPr>
                                        <a:rPr lang="en-US" sz="1600">
                                          <a:latin typeface="Cambria Math" panose="02040503050406030204" pitchFamily="18" charset="0"/>
                                        </a:rPr>
                                        <m:t>d</m:t>
                                      </m:r>
                                      <m:sSub>
                                        <m:sSubPr>
                                          <m:ctrlPr>
                                            <a:rPr lang="en-US" sz="1600" i="1">
                                              <a:latin typeface="Cambria Math" panose="02040503050406030204" pitchFamily="18" charset="0"/>
                                            </a:rPr>
                                          </m:ctrlPr>
                                        </m:sSubPr>
                                        <m:e>
                                          <m:r>
                                            <a:rPr lang="en-US" sz="1600" i="1">
                                              <a:latin typeface="Cambria Math" panose="02040503050406030204" pitchFamily="18" charset="0"/>
                                            </a:rPr>
                                            <m:t>𝑅</m:t>
                                          </m:r>
                                        </m:e>
                                        <m:sub>
                                          <m:r>
                                            <a:rPr lang="en-US" sz="1600" i="1">
                                              <a:latin typeface="Cambria Math" panose="02040503050406030204" pitchFamily="18" charset="0"/>
                                            </a:rPr>
                                            <m:t>𝐼</m:t>
                                          </m:r>
                                        </m:sub>
                                      </m:sSub>
                                    </m:den>
                                  </m:f>
                                </m:e>
                              </m:nary>
                            </m:e>
                          </m:d>
                        </m:e>
                      </m:nary>
                    </m:oMath>
                  </m:oMathPara>
                </a14:m>
                <a:endParaRPr lang="en-US" sz="1600" dirty="0"/>
              </a:p>
              <a:p>
                <a:pPr marL="0" indent="0">
                  <a:buNone/>
                </a:pPr>
                <a:endParaRPr lang="en-US" sz="1800" dirty="0"/>
              </a:p>
            </p:txBody>
          </p:sp>
        </mc:Choice>
        <mc:Fallback>
          <p:sp>
            <p:nvSpPr>
              <p:cNvPr id="2" name="Content Placeholder 1">
                <a:extLst>
                  <a:ext uri="{FF2B5EF4-FFF2-40B4-BE49-F238E27FC236}">
                    <a16:creationId xmlns:a16="http://schemas.microsoft.com/office/drawing/2014/main" id="{1AB2DCFA-BDEF-4D45-992C-7A95E307BCFF}"/>
                  </a:ext>
                </a:extLst>
              </p:cNvPr>
              <p:cNvSpPr>
                <a:spLocks noGrp="1" noRot="1" noChangeAspect="1" noMove="1" noResize="1" noEditPoints="1" noAdjustHandles="1" noChangeArrowheads="1" noChangeShapeType="1" noTextEdit="1"/>
              </p:cNvSpPr>
              <p:nvPr>
                <p:ph idx="1"/>
              </p:nvPr>
            </p:nvSpPr>
            <p:spPr>
              <a:xfrm>
                <a:off x="761302" y="1106302"/>
                <a:ext cx="7912531" cy="3394472"/>
              </a:xfrm>
              <a:blipFill>
                <a:blip r:embed="rId2"/>
                <a:stretch>
                  <a:fillRect l="-1849" t="-2334"/>
                </a:stretch>
              </a:blipFill>
            </p:spPr>
            <p:txBody>
              <a:bodyPr/>
              <a:lstStyle/>
              <a:p>
                <a:r>
                  <a:rPr lang="en-US">
                    <a:noFill/>
                  </a:rPr>
                  <a:t> </a:t>
                </a:r>
              </a:p>
            </p:txBody>
          </p:sp>
        </mc:Fallback>
      </mc:AlternateContent>
      <p:sp>
        <p:nvSpPr>
          <p:cNvPr id="4" name="Slide Number Placeholder 3">
            <a:extLst>
              <a:ext uri="{FF2B5EF4-FFF2-40B4-BE49-F238E27FC236}">
                <a16:creationId xmlns:a16="http://schemas.microsoft.com/office/drawing/2014/main" id="{A08EF54A-D0A4-4F74-8E1F-E73216DF3C78}"/>
              </a:ext>
            </a:extLst>
          </p:cNvPr>
          <p:cNvSpPr>
            <a:spLocks noGrp="1"/>
          </p:cNvSpPr>
          <p:nvPr>
            <p:ph type="sldNum" sz="quarter" idx="12"/>
          </p:nvPr>
        </p:nvSpPr>
        <p:spPr/>
        <p:txBody>
          <a:bodyPr/>
          <a:lstStyle/>
          <a:p>
            <a:fld id="{143B55C4-4F5A-416B-997D-6CE47EB0A945}" type="slidenum">
              <a:rPr lang="en-GB" noProof="0" smtClean="0"/>
              <a:t>24</a:t>
            </a:fld>
            <a:endParaRPr lang="en-GB" noProof="0" dirty="0"/>
          </a:p>
        </p:txBody>
      </p:sp>
      <p:sp>
        <p:nvSpPr>
          <p:cNvPr id="5" name="Title 4">
            <a:extLst>
              <a:ext uri="{FF2B5EF4-FFF2-40B4-BE49-F238E27FC236}">
                <a16:creationId xmlns:a16="http://schemas.microsoft.com/office/drawing/2014/main" id="{913376AE-22E5-4E38-863B-8214F7C82D90}"/>
              </a:ext>
            </a:extLst>
          </p:cNvPr>
          <p:cNvSpPr>
            <a:spLocks noGrp="1"/>
          </p:cNvSpPr>
          <p:nvPr>
            <p:ph type="title"/>
          </p:nvPr>
        </p:nvSpPr>
        <p:spPr/>
        <p:txBody>
          <a:bodyPr/>
          <a:lstStyle/>
          <a:p>
            <a:r>
              <a:rPr lang="en-US" dirty="0"/>
              <a:t>From expectation value to operator</a:t>
            </a:r>
          </a:p>
        </p:txBody>
      </p:sp>
    </p:spTree>
    <p:extLst>
      <p:ext uri="{BB962C8B-B14F-4D97-AF65-F5344CB8AC3E}">
        <p14:creationId xmlns:p14="http://schemas.microsoft.com/office/powerpoint/2010/main" val="767045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1AB2DCFA-BDEF-4D45-992C-7A95E307BCFF}"/>
                  </a:ext>
                </a:extLst>
              </p:cNvPr>
              <p:cNvSpPr>
                <a:spLocks noGrp="1"/>
              </p:cNvSpPr>
              <p:nvPr>
                <p:ph idx="1"/>
              </p:nvPr>
            </p:nvSpPr>
            <p:spPr>
              <a:xfrm>
                <a:off x="367575" y="816907"/>
                <a:ext cx="8408850" cy="3394472"/>
              </a:xfrm>
            </p:spPr>
            <p:txBody>
              <a:bodyPr/>
              <a:lstStyle/>
              <a:p>
                <a:pPr marL="0" indent="0">
                  <a:buNone/>
                </a:pPr>
                <a:r>
                  <a:rPr lang="en-US" sz="1800" dirty="0"/>
                  <a:t>Remember that the matrix elements of the Hamiltonian are calculated as integrals of the AO orbitals:</a:t>
                </a:r>
              </a:p>
              <a:p>
                <a:pPr marL="0" indent="0">
                  <a:buNone/>
                </a:pPr>
                <a14:m>
                  <m:oMathPara xmlns:m="http://schemas.openxmlformats.org/officeDocument/2006/math">
                    <m:oMathParaPr>
                      <m:jc m:val="centerGroup"/>
                    </m:oMathParaPr>
                    <m:oMath xmlns:m="http://schemas.openxmlformats.org/officeDocument/2006/math">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𝑆</m:t>
                          </m:r>
                        </m:e>
                        <m:sub>
                          <m:r>
                            <a:rPr lang="en-US" sz="1600" b="0" i="1" smtClean="0">
                              <a:latin typeface="Cambria Math" panose="02040503050406030204" pitchFamily="18" charset="0"/>
                            </a:rPr>
                            <m:t>𝜇𝜈</m:t>
                          </m:r>
                        </m:sub>
                      </m:sSub>
                      <m:r>
                        <a:rPr lang="en-US" sz="1600" b="0" i="1" smtClean="0">
                          <a:latin typeface="Cambria Math" panose="02040503050406030204" pitchFamily="18" charset="0"/>
                        </a:rPr>
                        <m:t>=∫</m:t>
                      </m:r>
                      <m:r>
                        <m:rPr>
                          <m:sty m:val="p"/>
                        </m:rPr>
                        <a:rPr lang="en-US" sz="1600" b="0" i="0" smtClean="0">
                          <a:latin typeface="Cambria Math" panose="02040503050406030204" pitchFamily="18" charset="0"/>
                        </a:rPr>
                        <m:t>d</m:t>
                      </m:r>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1</m:t>
                          </m:r>
                        </m:sub>
                      </m:sSub>
                      <m:sSubSup>
                        <m:sSubSupPr>
                          <m:ctrlPr>
                            <a:rPr lang="en-US" sz="1600" i="1" smtClean="0">
                              <a:latin typeface="Cambria Math" panose="02040503050406030204" pitchFamily="18" charset="0"/>
                            </a:rPr>
                          </m:ctrlPr>
                        </m:sSubSupPr>
                        <m:e>
                          <m:r>
                            <a:rPr lang="en-US" sz="1600" b="0" i="1" smtClean="0">
                              <a:latin typeface="Cambria Math" panose="02040503050406030204" pitchFamily="18" charset="0"/>
                            </a:rPr>
                            <m:t>𝜒</m:t>
                          </m:r>
                        </m:e>
                        <m:sub>
                          <m:r>
                            <a:rPr lang="en-US" sz="1600" b="0" i="1" smtClean="0">
                              <a:latin typeface="Cambria Math" panose="02040503050406030204" pitchFamily="18" charset="0"/>
                            </a:rPr>
                            <m:t>𝜇</m:t>
                          </m:r>
                        </m:sub>
                        <m:sup>
                          <m:r>
                            <a:rPr lang="en-US" sz="1600" b="0" i="1" smtClean="0">
                              <a:latin typeface="Cambria Math" panose="02040503050406030204" pitchFamily="18" charset="0"/>
                            </a:rPr>
                            <m:t>∗</m:t>
                          </m:r>
                        </m:sup>
                      </m:sSubSup>
                      <m:d>
                        <m:dPr>
                          <m:ctrlPr>
                            <a:rPr lang="en-US" sz="1600" b="0" i="1" smtClean="0">
                              <a:latin typeface="Cambria Math" panose="02040503050406030204" pitchFamily="18" charset="0"/>
                            </a:rPr>
                          </m:ctrlPr>
                        </m:dPr>
                        <m:e>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1</m:t>
                              </m:r>
                            </m:sub>
                          </m:sSub>
                          <m:r>
                            <a:rPr lang="en-US" sz="1600" b="1" i="1" smtClean="0">
                              <a:latin typeface="Cambria Math" panose="02040503050406030204" pitchFamily="18" charset="0"/>
                            </a:rPr>
                            <m:t>,</m:t>
                          </m:r>
                          <m:r>
                            <a:rPr lang="en-US" sz="1600" b="1" i="1" smtClean="0">
                              <a:latin typeface="Cambria Math" panose="02040503050406030204" pitchFamily="18" charset="0"/>
                            </a:rPr>
                            <m:t>𝑹</m:t>
                          </m:r>
                        </m:e>
                      </m:d>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𝜒</m:t>
                          </m:r>
                        </m:e>
                        <m:sub>
                          <m:r>
                            <a:rPr lang="en-US" sz="1600" b="0" i="1" smtClean="0">
                              <a:latin typeface="Cambria Math" panose="02040503050406030204" pitchFamily="18" charset="0"/>
                            </a:rPr>
                            <m:t>𝜈</m:t>
                          </m:r>
                        </m:sub>
                      </m:sSub>
                      <m:r>
                        <a:rPr lang="en-US" sz="1600" b="0" i="1" smtClean="0">
                          <a:latin typeface="Cambria Math" panose="02040503050406030204" pitchFamily="18" charset="0"/>
                        </a:rPr>
                        <m:t>(</m:t>
                      </m:r>
                      <m:sSub>
                        <m:sSubPr>
                          <m:ctrlPr>
                            <a:rPr lang="en-US" sz="1600" b="0"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1</m:t>
                          </m:r>
                        </m:sub>
                      </m:sSub>
                      <m:r>
                        <a:rPr lang="en-US" sz="1600" b="0" i="1" smtClean="0">
                          <a:latin typeface="Cambria Math" panose="02040503050406030204" pitchFamily="18" charset="0"/>
                        </a:rPr>
                        <m:t>,</m:t>
                      </m:r>
                      <m:r>
                        <a:rPr lang="en-US" sz="1600" b="1" i="1" smtClean="0">
                          <a:latin typeface="Cambria Math" panose="02040503050406030204" pitchFamily="18" charset="0"/>
                        </a:rPr>
                        <m:t>𝑹</m:t>
                      </m:r>
                      <m:r>
                        <a:rPr lang="en-US" sz="1600" b="0" i="1" smtClean="0">
                          <a:latin typeface="Cambria Math" panose="02040503050406030204" pitchFamily="18" charset="0"/>
                        </a:rPr>
                        <m:t>)</m:t>
                      </m:r>
                    </m:oMath>
                  </m:oMathPara>
                </a14:m>
                <a:endParaRPr lang="en-US" sz="1600" dirty="0"/>
              </a:p>
              <a:p>
                <a:pPr marL="0" indent="0">
                  <a:buNone/>
                </a:pPr>
                <a14:m>
                  <m:oMathPara xmlns:m="http://schemas.openxmlformats.org/officeDocument/2006/math">
                    <m:oMathParaPr>
                      <m:jc m:val="centerGroup"/>
                    </m:oMathParaPr>
                    <m:oMath xmlns:m="http://schemas.openxmlformats.org/officeDocument/2006/math">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h</m:t>
                          </m:r>
                        </m:e>
                        <m:sub>
                          <m:r>
                            <a:rPr lang="en-US" sz="1600" b="0" i="1" smtClean="0">
                              <a:latin typeface="Cambria Math" panose="02040503050406030204" pitchFamily="18" charset="0"/>
                            </a:rPr>
                            <m:t>𝜇𝜈</m:t>
                          </m:r>
                        </m:sub>
                      </m:sSub>
                      <m:r>
                        <a:rPr lang="en-US" sz="1600" b="0" i="1" smtClean="0">
                          <a:latin typeface="Cambria Math" panose="02040503050406030204" pitchFamily="18" charset="0"/>
                        </a:rPr>
                        <m:t>=∫</m:t>
                      </m:r>
                      <m:r>
                        <m:rPr>
                          <m:sty m:val="p"/>
                        </m:rPr>
                        <a:rPr lang="en-US" sz="1600" b="0" i="0" smtClean="0">
                          <a:latin typeface="Cambria Math" panose="02040503050406030204" pitchFamily="18" charset="0"/>
                        </a:rPr>
                        <m:t>d</m:t>
                      </m:r>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1</m:t>
                          </m:r>
                        </m:sub>
                      </m:sSub>
                      <m:sSubSup>
                        <m:sSubSupPr>
                          <m:ctrlPr>
                            <a:rPr lang="en-US" sz="1600" i="1" smtClean="0">
                              <a:latin typeface="Cambria Math" panose="02040503050406030204" pitchFamily="18" charset="0"/>
                            </a:rPr>
                          </m:ctrlPr>
                        </m:sSubSupPr>
                        <m:e>
                          <m:r>
                            <a:rPr lang="en-US" sz="1600" b="0" i="1" smtClean="0">
                              <a:latin typeface="Cambria Math" panose="02040503050406030204" pitchFamily="18" charset="0"/>
                            </a:rPr>
                            <m:t>𝜒</m:t>
                          </m:r>
                        </m:e>
                        <m:sub>
                          <m:r>
                            <a:rPr lang="en-US" sz="1600" b="0" i="1" smtClean="0">
                              <a:latin typeface="Cambria Math" panose="02040503050406030204" pitchFamily="18" charset="0"/>
                            </a:rPr>
                            <m:t>𝜇</m:t>
                          </m:r>
                        </m:sub>
                        <m:sup>
                          <m:r>
                            <a:rPr lang="en-US" sz="1600" b="0" i="1" smtClean="0">
                              <a:latin typeface="Cambria Math" panose="02040503050406030204" pitchFamily="18" charset="0"/>
                            </a:rPr>
                            <m:t>∗</m:t>
                          </m:r>
                        </m:sup>
                      </m:sSubSup>
                      <m:d>
                        <m:dPr>
                          <m:ctrlPr>
                            <a:rPr lang="en-US" sz="1600" b="0" i="1" smtClean="0">
                              <a:latin typeface="Cambria Math" panose="02040503050406030204" pitchFamily="18" charset="0"/>
                            </a:rPr>
                          </m:ctrlPr>
                        </m:dPr>
                        <m:e>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1</m:t>
                              </m:r>
                            </m:sub>
                          </m:sSub>
                          <m:r>
                            <a:rPr lang="en-US" sz="1600" b="0" i="1" smtClean="0">
                              <a:latin typeface="Cambria Math" panose="02040503050406030204" pitchFamily="18" charset="0"/>
                            </a:rPr>
                            <m:t>,</m:t>
                          </m:r>
                          <m:r>
                            <a:rPr lang="en-US" sz="1600" b="1" i="1" smtClean="0">
                              <a:latin typeface="Cambria Math" panose="02040503050406030204" pitchFamily="18" charset="0"/>
                            </a:rPr>
                            <m:t>𝑹</m:t>
                          </m:r>
                        </m:e>
                      </m:d>
                      <m:r>
                        <a:rPr lang="en-US" sz="1600" b="0" i="1" smtClean="0">
                          <a:latin typeface="Cambria Math" panose="02040503050406030204" pitchFamily="18" charset="0"/>
                        </a:rPr>
                        <m:t>h</m:t>
                      </m:r>
                      <m:d>
                        <m:dPr>
                          <m:ctrlPr>
                            <a:rPr lang="en-US" sz="1600" b="0" i="1" smtClean="0">
                              <a:latin typeface="Cambria Math" panose="02040503050406030204" pitchFamily="18" charset="0"/>
                            </a:rPr>
                          </m:ctrlPr>
                        </m:dPr>
                        <m:e>
                          <m:sSub>
                            <m:sSubPr>
                              <m:ctrlPr>
                                <a:rPr lang="en-US" sz="1600" b="0"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1</m:t>
                              </m:r>
                            </m:sub>
                          </m:sSub>
                          <m:r>
                            <a:rPr lang="en-US" sz="1600" b="0" i="1" smtClean="0">
                              <a:latin typeface="Cambria Math" panose="02040503050406030204" pitchFamily="18" charset="0"/>
                            </a:rPr>
                            <m:t>,</m:t>
                          </m:r>
                          <m:r>
                            <a:rPr lang="en-US" sz="1600" b="1" i="1" smtClean="0">
                              <a:latin typeface="Cambria Math" panose="02040503050406030204" pitchFamily="18" charset="0"/>
                            </a:rPr>
                            <m:t>𝑹</m:t>
                          </m:r>
                        </m:e>
                      </m:d>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𝜒</m:t>
                          </m:r>
                        </m:e>
                        <m:sub>
                          <m:r>
                            <a:rPr lang="en-US" sz="1600" b="0" i="1" smtClean="0">
                              <a:latin typeface="Cambria Math" panose="02040503050406030204" pitchFamily="18" charset="0"/>
                            </a:rPr>
                            <m:t>𝜈</m:t>
                          </m:r>
                        </m:sub>
                      </m:sSub>
                      <m:r>
                        <a:rPr lang="en-US" sz="1600" b="0" i="1" smtClean="0">
                          <a:latin typeface="Cambria Math" panose="02040503050406030204" pitchFamily="18" charset="0"/>
                        </a:rPr>
                        <m:t>(</m:t>
                      </m:r>
                      <m:sSub>
                        <m:sSubPr>
                          <m:ctrlPr>
                            <a:rPr lang="en-US" sz="1600" b="0"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1</m:t>
                          </m:r>
                        </m:sub>
                      </m:sSub>
                      <m:r>
                        <a:rPr lang="en-US" sz="1600" b="0" i="1" smtClean="0">
                          <a:latin typeface="Cambria Math" panose="02040503050406030204" pitchFamily="18" charset="0"/>
                        </a:rPr>
                        <m:t>,</m:t>
                      </m:r>
                      <m:r>
                        <a:rPr lang="en-US" sz="1600" b="1" i="1" smtClean="0">
                          <a:latin typeface="Cambria Math" panose="02040503050406030204" pitchFamily="18" charset="0"/>
                        </a:rPr>
                        <m:t>𝑹</m:t>
                      </m:r>
                      <m:r>
                        <a:rPr lang="en-US" sz="1600" b="0" i="1" smtClean="0">
                          <a:latin typeface="Cambria Math" panose="02040503050406030204" pitchFamily="18" charset="0"/>
                        </a:rPr>
                        <m:t>)</m:t>
                      </m:r>
                    </m:oMath>
                  </m:oMathPara>
                </a14:m>
                <a:endParaRPr lang="en-US" sz="1600" dirty="0"/>
              </a:p>
              <a:p>
                <a:pPr marL="0" indent="0">
                  <a:buNone/>
                </a:pPr>
                <a14:m>
                  <m:oMathPara xmlns:m="http://schemas.openxmlformats.org/officeDocument/2006/math">
                    <m:oMathParaPr>
                      <m:jc m:val="centerGroup"/>
                    </m:oMathParaPr>
                    <m:oMath xmlns:m="http://schemas.openxmlformats.org/officeDocument/2006/math">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𝑔</m:t>
                          </m:r>
                        </m:e>
                        <m:sub>
                          <m:r>
                            <a:rPr lang="en-US" sz="1600" b="0" i="1" smtClean="0">
                              <a:latin typeface="Cambria Math" panose="02040503050406030204" pitchFamily="18" charset="0"/>
                            </a:rPr>
                            <m:t>𝜇𝜈𝜆𝜎</m:t>
                          </m:r>
                        </m:sub>
                      </m:sSub>
                      <m:r>
                        <a:rPr lang="en-US" sz="1600" b="0" i="1" smtClean="0">
                          <a:latin typeface="Cambria Math" panose="02040503050406030204" pitchFamily="18" charset="0"/>
                        </a:rPr>
                        <m:t>=∫</m:t>
                      </m:r>
                      <m:r>
                        <m:rPr>
                          <m:sty m:val="p"/>
                        </m:rPr>
                        <a:rPr lang="en-US" sz="1600" b="0" i="0" smtClean="0">
                          <a:latin typeface="Cambria Math" panose="02040503050406030204" pitchFamily="18" charset="0"/>
                        </a:rPr>
                        <m:t>d</m:t>
                      </m:r>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1</m:t>
                          </m:r>
                        </m:sub>
                      </m:sSub>
                      <m:r>
                        <m:rPr>
                          <m:sty m:val="p"/>
                        </m:rPr>
                        <a:rPr lang="en-US" sz="1600" b="0" i="0" smtClean="0">
                          <a:latin typeface="Cambria Math" panose="02040503050406030204" pitchFamily="18" charset="0"/>
                        </a:rPr>
                        <m:t>d</m:t>
                      </m:r>
                      <m:sSub>
                        <m:sSubPr>
                          <m:ctrlPr>
                            <a:rPr lang="en-US" sz="1600" b="0"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2</m:t>
                          </m:r>
                        </m:sub>
                      </m:sSub>
                      <m:sSubSup>
                        <m:sSubSupPr>
                          <m:ctrlPr>
                            <a:rPr lang="en-US" sz="1600" i="1" smtClean="0">
                              <a:latin typeface="Cambria Math" panose="02040503050406030204" pitchFamily="18" charset="0"/>
                            </a:rPr>
                          </m:ctrlPr>
                        </m:sSubSupPr>
                        <m:e>
                          <m:r>
                            <a:rPr lang="en-US" sz="1600" b="0" i="1" smtClean="0">
                              <a:latin typeface="Cambria Math" panose="02040503050406030204" pitchFamily="18" charset="0"/>
                            </a:rPr>
                            <m:t>𝜒</m:t>
                          </m:r>
                        </m:e>
                        <m:sub>
                          <m:r>
                            <a:rPr lang="en-US" sz="1600" b="0" i="1" smtClean="0">
                              <a:latin typeface="Cambria Math" panose="02040503050406030204" pitchFamily="18" charset="0"/>
                            </a:rPr>
                            <m:t>𝜇</m:t>
                          </m:r>
                        </m:sub>
                        <m:sup>
                          <m:r>
                            <a:rPr lang="en-US" sz="1600" b="0" i="1" smtClean="0">
                              <a:latin typeface="Cambria Math" panose="02040503050406030204" pitchFamily="18" charset="0"/>
                            </a:rPr>
                            <m:t>∗</m:t>
                          </m:r>
                        </m:sup>
                      </m:sSubSup>
                      <m:d>
                        <m:dPr>
                          <m:ctrlPr>
                            <a:rPr lang="en-US" sz="1600" b="0" i="1" smtClean="0">
                              <a:latin typeface="Cambria Math" panose="02040503050406030204" pitchFamily="18" charset="0"/>
                            </a:rPr>
                          </m:ctrlPr>
                        </m:dPr>
                        <m:e>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1</m:t>
                              </m:r>
                            </m:sub>
                          </m:sSub>
                          <m:r>
                            <a:rPr lang="en-US" sz="1600" b="0" i="1" smtClean="0">
                              <a:latin typeface="Cambria Math" panose="02040503050406030204" pitchFamily="18" charset="0"/>
                            </a:rPr>
                            <m:t>,</m:t>
                          </m:r>
                          <m:r>
                            <a:rPr lang="en-US" sz="1600" b="1" i="1" smtClean="0">
                              <a:latin typeface="Cambria Math" panose="02040503050406030204" pitchFamily="18" charset="0"/>
                            </a:rPr>
                            <m:t>𝑹</m:t>
                          </m:r>
                        </m:e>
                      </m:d>
                      <m:sSubSup>
                        <m:sSubSupPr>
                          <m:ctrlPr>
                            <a:rPr lang="en-US" sz="1600" b="0" i="1" smtClean="0">
                              <a:latin typeface="Cambria Math" panose="02040503050406030204" pitchFamily="18" charset="0"/>
                            </a:rPr>
                          </m:ctrlPr>
                        </m:sSubSupPr>
                        <m:e>
                          <m:r>
                            <a:rPr lang="en-US" sz="1600" b="0" i="1" smtClean="0">
                              <a:latin typeface="Cambria Math" panose="02040503050406030204" pitchFamily="18" charset="0"/>
                            </a:rPr>
                            <m:t>𝜒</m:t>
                          </m:r>
                        </m:e>
                        <m:sub>
                          <m:r>
                            <a:rPr lang="en-US" sz="1600" b="0" i="1" smtClean="0">
                              <a:latin typeface="Cambria Math" panose="02040503050406030204" pitchFamily="18" charset="0"/>
                            </a:rPr>
                            <m:t>𝜈</m:t>
                          </m:r>
                        </m:sub>
                        <m:sup>
                          <m:r>
                            <a:rPr lang="en-US" sz="1600" b="0" i="1" smtClean="0">
                              <a:latin typeface="Cambria Math" panose="02040503050406030204" pitchFamily="18" charset="0"/>
                            </a:rPr>
                            <m:t>∗</m:t>
                          </m:r>
                        </m:sup>
                      </m:sSubSup>
                      <m:r>
                        <a:rPr lang="en-US" sz="1600" b="0" i="1" smtClean="0">
                          <a:latin typeface="Cambria Math" panose="02040503050406030204" pitchFamily="18" charset="0"/>
                        </a:rPr>
                        <m:t> (</m:t>
                      </m:r>
                      <m:sSub>
                        <m:sSubPr>
                          <m:ctrlPr>
                            <a:rPr lang="en-US" sz="1600" b="0"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2</m:t>
                          </m:r>
                        </m:sub>
                      </m:sSub>
                      <m:r>
                        <a:rPr lang="en-US" sz="1600" b="0" i="1" smtClean="0">
                          <a:latin typeface="Cambria Math" panose="02040503050406030204" pitchFamily="18" charset="0"/>
                        </a:rPr>
                        <m:t>,</m:t>
                      </m:r>
                      <m:r>
                        <a:rPr lang="en-US" sz="1600" b="1" i="1" smtClean="0">
                          <a:latin typeface="Cambria Math" panose="02040503050406030204" pitchFamily="18" charset="0"/>
                        </a:rPr>
                        <m:t>𝑹</m:t>
                      </m:r>
                      <m:r>
                        <a:rPr lang="en-US" sz="1600" b="0" i="1" smtClean="0">
                          <a:latin typeface="Cambria Math" panose="02040503050406030204" pitchFamily="18" charset="0"/>
                        </a:rPr>
                        <m:t>)</m:t>
                      </m:r>
                      <m:f>
                        <m:fPr>
                          <m:ctrlPr>
                            <a:rPr lang="en-US" sz="1600" b="0" i="1" smtClean="0">
                              <a:latin typeface="Cambria Math" panose="02040503050406030204" pitchFamily="18" charset="0"/>
                            </a:rPr>
                          </m:ctrlPr>
                        </m:fPr>
                        <m:num>
                          <m:r>
                            <a:rPr lang="en-US" sz="1600" b="0" i="1" smtClean="0">
                              <a:latin typeface="Cambria Math" panose="02040503050406030204" pitchFamily="18" charset="0"/>
                            </a:rPr>
                            <m:t>1</m:t>
                          </m:r>
                        </m:num>
                        <m:den>
                          <m:d>
                            <m:dPr>
                              <m:begChr m:val="|"/>
                              <m:endChr m:val="|"/>
                              <m:ctrlPr>
                                <a:rPr lang="en-US" sz="1600" b="0" i="1" smtClean="0">
                                  <a:latin typeface="Cambria Math" panose="02040503050406030204" pitchFamily="18" charset="0"/>
                                </a:rPr>
                              </m:ctrlPr>
                            </m:dPr>
                            <m:e>
                              <m:sSub>
                                <m:sSubPr>
                                  <m:ctrlPr>
                                    <a:rPr lang="en-US" sz="1600" b="0"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1</m:t>
                                  </m:r>
                                </m:sub>
                              </m:sSub>
                              <m:r>
                                <a:rPr lang="en-US" sz="1600" b="0" i="1" smtClean="0">
                                  <a:latin typeface="Cambria Math" panose="02040503050406030204" pitchFamily="18" charset="0"/>
                                </a:rPr>
                                <m:t>−</m:t>
                              </m:r>
                              <m:sSub>
                                <m:sSubPr>
                                  <m:ctrlPr>
                                    <a:rPr lang="en-US" sz="1600" b="0"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2</m:t>
                                  </m:r>
                                </m:sub>
                              </m:sSub>
                            </m:e>
                          </m:d>
                        </m:den>
                      </m:f>
                      <m:r>
                        <a:rPr lang="en-US" sz="1600" b="0" i="1" smtClean="0">
                          <a:latin typeface="Cambria Math" panose="02040503050406030204" pitchFamily="18" charset="0"/>
                        </a:rPr>
                        <m:t> </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𝜒</m:t>
                          </m:r>
                        </m:e>
                        <m:sub>
                          <m:r>
                            <a:rPr lang="en-US" sz="1600" b="0" i="1" smtClean="0">
                              <a:latin typeface="Cambria Math" panose="02040503050406030204" pitchFamily="18" charset="0"/>
                            </a:rPr>
                            <m:t>𝜆</m:t>
                          </m:r>
                        </m:sub>
                      </m:sSub>
                      <m:d>
                        <m:dPr>
                          <m:ctrlPr>
                            <a:rPr lang="en-US" sz="1600" b="0" i="1" smtClean="0">
                              <a:latin typeface="Cambria Math" panose="02040503050406030204" pitchFamily="18" charset="0"/>
                            </a:rPr>
                          </m:ctrlPr>
                        </m:dPr>
                        <m:e>
                          <m:sSub>
                            <m:sSubPr>
                              <m:ctrlPr>
                                <a:rPr lang="en-US" sz="1600" b="0"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1</m:t>
                              </m:r>
                            </m:sub>
                          </m:sSub>
                          <m:r>
                            <a:rPr lang="en-US" sz="1600" b="0" i="1" smtClean="0">
                              <a:latin typeface="Cambria Math" panose="02040503050406030204" pitchFamily="18" charset="0"/>
                            </a:rPr>
                            <m:t>,</m:t>
                          </m:r>
                          <m:r>
                            <a:rPr lang="en-US" sz="1600" b="1" i="1" smtClean="0">
                              <a:latin typeface="Cambria Math" panose="02040503050406030204" pitchFamily="18" charset="0"/>
                            </a:rPr>
                            <m:t>𝑹</m:t>
                          </m:r>
                        </m:e>
                      </m:d>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𝜒</m:t>
                          </m:r>
                        </m:e>
                        <m:sub>
                          <m:r>
                            <a:rPr lang="en-US" sz="1600" b="0" i="1" smtClean="0">
                              <a:latin typeface="Cambria Math" panose="02040503050406030204" pitchFamily="18" charset="0"/>
                            </a:rPr>
                            <m:t>𝜎</m:t>
                          </m:r>
                        </m:sub>
                      </m:sSub>
                      <m:d>
                        <m:dPr>
                          <m:ctrlPr>
                            <a:rPr lang="en-US" sz="1600" b="0" i="1" smtClean="0">
                              <a:latin typeface="Cambria Math" panose="02040503050406030204" pitchFamily="18" charset="0"/>
                            </a:rPr>
                          </m:ctrlPr>
                        </m:dPr>
                        <m:e>
                          <m:sSub>
                            <m:sSubPr>
                              <m:ctrlPr>
                                <a:rPr lang="en-US" sz="1600" b="0"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2</m:t>
                              </m:r>
                            </m:sub>
                          </m:sSub>
                          <m:r>
                            <a:rPr lang="en-US" sz="1600" b="0" i="1" smtClean="0">
                              <a:latin typeface="Cambria Math" panose="02040503050406030204" pitchFamily="18" charset="0"/>
                            </a:rPr>
                            <m:t>,</m:t>
                          </m:r>
                          <m:r>
                            <a:rPr lang="en-US" sz="1600" b="1" i="1" smtClean="0">
                              <a:latin typeface="Cambria Math" panose="02040503050406030204" pitchFamily="18" charset="0"/>
                            </a:rPr>
                            <m:t>𝑹</m:t>
                          </m:r>
                        </m:e>
                      </m:d>
                    </m:oMath>
                  </m:oMathPara>
                </a14:m>
                <a:endParaRPr lang="en-US" sz="1600" dirty="0"/>
              </a:p>
              <a:p>
                <a:pPr marL="0" indent="0">
                  <a:buNone/>
                </a:pPr>
                <a:r>
                  <a:rPr lang="en-US" sz="1800" dirty="0"/>
                  <a:t>In the case of Gaussian orbitals the derivatives of these integrals can be easily calculated by computational chemistry packages.</a:t>
                </a:r>
              </a:p>
              <a:p>
                <a:pPr marL="0" indent="0">
                  <a:buNone/>
                </a:pPr>
                <a:endParaRPr lang="en-US" sz="1800" b="1" dirty="0"/>
              </a:p>
              <a:p>
                <a:pPr marL="0" indent="0">
                  <a:buNone/>
                </a:pPr>
                <a:r>
                  <a:rPr lang="en-US" sz="1800" dirty="0"/>
                  <a:t>Two notable exceptions:</a:t>
                </a:r>
              </a:p>
              <a:p>
                <a:pPr lvl="1"/>
                <a:r>
                  <a:rPr lang="en-US" sz="1400" dirty="0"/>
                  <a:t>Basis sets that do not depend on the nuclear coordinates (e.g. plane waves)</a:t>
                </a:r>
              </a:p>
              <a:p>
                <a:pPr lvl="1"/>
                <a:r>
                  <a:rPr lang="en-US" sz="1400" dirty="0"/>
                  <a:t>The complete basis set limit</a:t>
                </a:r>
              </a:p>
            </p:txBody>
          </p:sp>
        </mc:Choice>
        <mc:Fallback xmlns="">
          <p:sp>
            <p:nvSpPr>
              <p:cNvPr id="2" name="Content Placeholder 1">
                <a:extLst>
                  <a:ext uri="{FF2B5EF4-FFF2-40B4-BE49-F238E27FC236}">
                    <a16:creationId xmlns:a16="http://schemas.microsoft.com/office/drawing/2014/main" id="{1AB2DCFA-BDEF-4D45-992C-7A95E307BCFF}"/>
                  </a:ext>
                </a:extLst>
              </p:cNvPr>
              <p:cNvSpPr>
                <a:spLocks noGrp="1" noRot="1" noChangeAspect="1" noMove="1" noResize="1" noEditPoints="1" noAdjustHandles="1" noChangeArrowheads="1" noChangeShapeType="1" noTextEdit="1"/>
              </p:cNvSpPr>
              <p:nvPr>
                <p:ph idx="1"/>
              </p:nvPr>
            </p:nvSpPr>
            <p:spPr>
              <a:xfrm>
                <a:off x="367575" y="816907"/>
                <a:ext cx="8408850" cy="3394472"/>
              </a:xfrm>
              <a:blipFill>
                <a:blip r:embed="rId2"/>
                <a:stretch>
                  <a:fillRect l="-1667" t="-2334" r="-1232"/>
                </a:stretch>
              </a:blipFill>
            </p:spPr>
            <p:txBody>
              <a:bodyPr/>
              <a:lstStyle/>
              <a:p>
                <a:r>
                  <a:rPr lang="en-US">
                    <a:noFill/>
                  </a:rPr>
                  <a:t> </a:t>
                </a:r>
              </a:p>
            </p:txBody>
          </p:sp>
        </mc:Fallback>
      </mc:AlternateContent>
      <p:sp>
        <p:nvSpPr>
          <p:cNvPr id="4" name="Slide Number Placeholder 3">
            <a:extLst>
              <a:ext uri="{FF2B5EF4-FFF2-40B4-BE49-F238E27FC236}">
                <a16:creationId xmlns:a16="http://schemas.microsoft.com/office/drawing/2014/main" id="{A08EF54A-D0A4-4F74-8E1F-E73216DF3C78}"/>
              </a:ext>
            </a:extLst>
          </p:cNvPr>
          <p:cNvSpPr>
            <a:spLocks noGrp="1"/>
          </p:cNvSpPr>
          <p:nvPr>
            <p:ph type="sldNum" sz="quarter" idx="12"/>
          </p:nvPr>
        </p:nvSpPr>
        <p:spPr/>
        <p:txBody>
          <a:bodyPr/>
          <a:lstStyle/>
          <a:p>
            <a:fld id="{143B55C4-4F5A-416B-997D-6CE47EB0A945}" type="slidenum">
              <a:rPr lang="en-GB" noProof="0" smtClean="0"/>
              <a:t>25</a:t>
            </a:fld>
            <a:endParaRPr lang="en-GB" noProof="0" dirty="0"/>
          </a:p>
        </p:txBody>
      </p:sp>
      <p:sp>
        <p:nvSpPr>
          <p:cNvPr id="5" name="Title 4">
            <a:extLst>
              <a:ext uri="{FF2B5EF4-FFF2-40B4-BE49-F238E27FC236}">
                <a16:creationId xmlns:a16="http://schemas.microsoft.com/office/drawing/2014/main" id="{913376AE-22E5-4E38-863B-8214F7C82D90}"/>
              </a:ext>
            </a:extLst>
          </p:cNvPr>
          <p:cNvSpPr>
            <a:spLocks noGrp="1"/>
          </p:cNvSpPr>
          <p:nvPr>
            <p:ph type="title"/>
          </p:nvPr>
        </p:nvSpPr>
        <p:spPr/>
        <p:txBody>
          <a:bodyPr/>
          <a:lstStyle/>
          <a:p>
            <a:r>
              <a:rPr lang="en-US" dirty="0"/>
              <a:t>Where do we get the remaining derivatives?</a:t>
            </a:r>
          </a:p>
        </p:txBody>
      </p:sp>
    </p:spTree>
    <p:extLst>
      <p:ext uri="{BB962C8B-B14F-4D97-AF65-F5344CB8AC3E}">
        <p14:creationId xmlns:p14="http://schemas.microsoft.com/office/powerpoint/2010/main" val="4117016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32794C7-D2A7-44B1-862E-960A11756BEB}"/>
              </a:ext>
            </a:extLst>
          </p:cNvPr>
          <p:cNvSpPr>
            <a:spLocks noGrp="1"/>
          </p:cNvSpPr>
          <p:nvPr>
            <p:ph idx="1"/>
          </p:nvPr>
        </p:nvSpPr>
        <p:spPr/>
        <p:txBody>
          <a:bodyPr/>
          <a:lstStyle/>
          <a:p>
            <a:r>
              <a:rPr lang="en-US" sz="1800" dirty="0"/>
              <a:t>Finding basis rotations that diagonalize as many operators as possible</a:t>
            </a:r>
          </a:p>
          <a:p>
            <a:pPr lvl="1"/>
            <a:r>
              <a:rPr lang="en-US" dirty="0"/>
              <a:t>Clifford group for  commuting or qubit commuting subsets</a:t>
            </a:r>
          </a:p>
          <a:p>
            <a:pPr lvl="1"/>
            <a:r>
              <a:rPr lang="en-US" dirty="0"/>
              <a:t>Givens rotations or double factorization (DF)</a:t>
            </a:r>
          </a:p>
          <a:p>
            <a:pPr marL="266700" lvl="1" indent="0">
              <a:buNone/>
            </a:pPr>
            <a:r>
              <a:rPr lang="en-US" sz="1800" dirty="0"/>
              <a:t>But not all derivatives in the vector are diagonalized by the same set of rotations and you only get the expectation value of the subset.</a:t>
            </a:r>
          </a:p>
          <a:p>
            <a:r>
              <a:rPr lang="en-US" sz="1800" dirty="0"/>
              <a:t>Build a model for the state with fermionic shadow tomography by random measurements</a:t>
            </a:r>
          </a:p>
          <a:p>
            <a:r>
              <a:rPr lang="en-US" sz="1800" dirty="0"/>
              <a:t>Assign different weights to different operators through importance sampling with parallel measurements for multiple force operators</a:t>
            </a:r>
          </a:p>
        </p:txBody>
      </p:sp>
      <p:sp>
        <p:nvSpPr>
          <p:cNvPr id="4" name="Slide Number Placeholder 3">
            <a:extLst>
              <a:ext uri="{FF2B5EF4-FFF2-40B4-BE49-F238E27FC236}">
                <a16:creationId xmlns:a16="http://schemas.microsoft.com/office/drawing/2014/main" id="{143ACD80-FB3A-48E1-ABFF-D18F6587C69D}"/>
              </a:ext>
            </a:extLst>
          </p:cNvPr>
          <p:cNvSpPr>
            <a:spLocks noGrp="1"/>
          </p:cNvSpPr>
          <p:nvPr>
            <p:ph type="sldNum" sz="quarter" idx="12"/>
          </p:nvPr>
        </p:nvSpPr>
        <p:spPr/>
        <p:txBody>
          <a:bodyPr/>
          <a:lstStyle/>
          <a:p>
            <a:fld id="{143B55C4-4F5A-416B-997D-6CE47EB0A945}" type="slidenum">
              <a:rPr lang="en-GB" noProof="0" smtClean="0"/>
              <a:t>26</a:t>
            </a:fld>
            <a:endParaRPr lang="en-GB" noProof="0" dirty="0"/>
          </a:p>
        </p:txBody>
      </p:sp>
      <p:sp>
        <p:nvSpPr>
          <p:cNvPr id="5" name="Title 4">
            <a:extLst>
              <a:ext uri="{FF2B5EF4-FFF2-40B4-BE49-F238E27FC236}">
                <a16:creationId xmlns:a16="http://schemas.microsoft.com/office/drawing/2014/main" id="{C7743839-4BFC-4C30-BF69-E082CE688387}"/>
              </a:ext>
            </a:extLst>
          </p:cNvPr>
          <p:cNvSpPr>
            <a:spLocks noGrp="1"/>
          </p:cNvSpPr>
          <p:nvPr>
            <p:ph type="title"/>
          </p:nvPr>
        </p:nvSpPr>
        <p:spPr/>
        <p:txBody>
          <a:bodyPr/>
          <a:lstStyle/>
          <a:p>
            <a:r>
              <a:rPr lang="en-US" dirty="0"/>
              <a:t>How do we measure these operators?</a:t>
            </a:r>
          </a:p>
        </p:txBody>
      </p:sp>
    </p:spTree>
    <p:extLst>
      <p:ext uri="{BB962C8B-B14F-4D97-AF65-F5344CB8AC3E}">
        <p14:creationId xmlns:p14="http://schemas.microsoft.com/office/powerpoint/2010/main" val="92558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C21DBC4-8719-4F08-8754-D2CE6408AA36}"/>
              </a:ext>
            </a:extLst>
          </p:cNvPr>
          <p:cNvSpPr>
            <a:spLocks noGrp="1"/>
          </p:cNvSpPr>
          <p:nvPr>
            <p:ph type="sldNum" sz="quarter" idx="12"/>
          </p:nvPr>
        </p:nvSpPr>
        <p:spPr/>
        <p:txBody>
          <a:bodyPr/>
          <a:lstStyle/>
          <a:p>
            <a:fld id="{143B55C4-4F5A-416B-997D-6CE47EB0A945}" type="slidenum">
              <a:rPr lang="en-GB" noProof="0" smtClean="0"/>
              <a:t>27</a:t>
            </a:fld>
            <a:endParaRPr lang="en-GB" noProof="0" dirty="0"/>
          </a:p>
        </p:txBody>
      </p:sp>
      <p:sp>
        <p:nvSpPr>
          <p:cNvPr id="5" name="Title 4">
            <a:extLst>
              <a:ext uri="{FF2B5EF4-FFF2-40B4-BE49-F238E27FC236}">
                <a16:creationId xmlns:a16="http://schemas.microsoft.com/office/drawing/2014/main" id="{AABBA71D-8352-4FBB-80B0-93B29F1A7155}"/>
              </a:ext>
            </a:extLst>
          </p:cNvPr>
          <p:cNvSpPr>
            <a:spLocks noGrp="1"/>
          </p:cNvSpPr>
          <p:nvPr>
            <p:ph type="title"/>
          </p:nvPr>
        </p:nvSpPr>
        <p:spPr/>
        <p:txBody>
          <a:bodyPr/>
          <a:lstStyle/>
          <a:p>
            <a:r>
              <a:rPr lang="en-US" dirty="0"/>
              <a:t>Scaling of force operator calculations</a:t>
            </a:r>
          </a:p>
        </p:txBody>
      </p:sp>
      <p:pic>
        <p:nvPicPr>
          <p:cNvPr id="7" name="Picture 6">
            <a:extLst>
              <a:ext uri="{FF2B5EF4-FFF2-40B4-BE49-F238E27FC236}">
                <a16:creationId xmlns:a16="http://schemas.microsoft.com/office/drawing/2014/main" id="{456EB5AB-95BE-44A6-9D6E-0EF468B9394A}"/>
              </a:ext>
            </a:extLst>
          </p:cNvPr>
          <p:cNvPicPr>
            <a:picLocks noChangeAspect="1"/>
          </p:cNvPicPr>
          <p:nvPr/>
        </p:nvPicPr>
        <p:blipFill>
          <a:blip r:embed="rId2"/>
          <a:stretch>
            <a:fillRect/>
          </a:stretch>
        </p:blipFill>
        <p:spPr>
          <a:xfrm>
            <a:off x="407066" y="802529"/>
            <a:ext cx="8164175" cy="2880191"/>
          </a:xfrm>
          <a:prstGeom prst="rect">
            <a:avLst/>
          </a:prstGeom>
        </p:spPr>
      </p:pic>
      <p:pic>
        <p:nvPicPr>
          <p:cNvPr id="9" name="Picture 8">
            <a:extLst>
              <a:ext uri="{FF2B5EF4-FFF2-40B4-BE49-F238E27FC236}">
                <a16:creationId xmlns:a16="http://schemas.microsoft.com/office/drawing/2014/main" id="{C0B69CDD-760E-47B7-B402-CF2E78D2C74E}"/>
              </a:ext>
            </a:extLst>
          </p:cNvPr>
          <p:cNvPicPr>
            <a:picLocks noChangeAspect="1"/>
          </p:cNvPicPr>
          <p:nvPr/>
        </p:nvPicPr>
        <p:blipFill>
          <a:blip r:embed="rId3"/>
          <a:stretch>
            <a:fillRect/>
          </a:stretch>
        </p:blipFill>
        <p:spPr>
          <a:xfrm>
            <a:off x="407066" y="3682720"/>
            <a:ext cx="4595819" cy="1143492"/>
          </a:xfrm>
          <a:prstGeom prst="rect">
            <a:avLst/>
          </a:prstGeom>
        </p:spPr>
      </p:pic>
      <p:sp>
        <p:nvSpPr>
          <p:cNvPr id="10" name="TextBox 9">
            <a:extLst>
              <a:ext uri="{FF2B5EF4-FFF2-40B4-BE49-F238E27FC236}">
                <a16:creationId xmlns:a16="http://schemas.microsoft.com/office/drawing/2014/main" id="{5A386153-2C03-43EC-9326-B68A0401ACBE}"/>
              </a:ext>
            </a:extLst>
          </p:cNvPr>
          <p:cNvSpPr txBox="1"/>
          <p:nvPr/>
        </p:nvSpPr>
        <p:spPr>
          <a:xfrm>
            <a:off x="5233141" y="3948404"/>
            <a:ext cx="3338100" cy="553998"/>
          </a:xfrm>
          <a:prstGeom prst="rect">
            <a:avLst/>
          </a:prstGeom>
          <a:noFill/>
        </p:spPr>
        <p:txBody>
          <a:bodyPr wrap="square" lIns="0" tIns="0" rIns="0" bIns="0" rtlCol="0">
            <a:spAutoFit/>
          </a:bodyPr>
          <a:lstStyle/>
          <a:p>
            <a:r>
              <a:rPr lang="en-US" sz="1200" dirty="0"/>
              <a:t>O’Brien, T.E. </a:t>
            </a:r>
            <a:r>
              <a:rPr lang="en-US" sz="1200" i="1" dirty="0"/>
              <a:t>et al</a:t>
            </a:r>
            <a:r>
              <a:rPr lang="en-US" sz="1200" dirty="0"/>
              <a:t>. Efficient quantum computation of molecular forces and other energy gradients. arXiv:2111.12437 (2021)</a:t>
            </a:r>
          </a:p>
        </p:txBody>
      </p:sp>
      <p:sp>
        <p:nvSpPr>
          <p:cNvPr id="11" name="TextBox 10">
            <a:extLst>
              <a:ext uri="{FF2B5EF4-FFF2-40B4-BE49-F238E27FC236}">
                <a16:creationId xmlns:a16="http://schemas.microsoft.com/office/drawing/2014/main" id="{B2A483DC-96DF-4B3F-BA76-EDA36911ED72}"/>
              </a:ext>
            </a:extLst>
          </p:cNvPr>
          <p:cNvSpPr txBox="1"/>
          <p:nvPr/>
        </p:nvSpPr>
        <p:spPr>
          <a:xfrm>
            <a:off x="2719346" y="2115409"/>
            <a:ext cx="3883677" cy="307777"/>
          </a:xfrm>
          <a:prstGeom prst="rect">
            <a:avLst/>
          </a:prstGeom>
          <a:noFill/>
        </p:spPr>
        <p:txBody>
          <a:bodyPr wrap="square" lIns="0" tIns="0" rIns="0" bIns="0" rtlCol="0">
            <a:spAutoFit/>
          </a:bodyPr>
          <a:lstStyle/>
          <a:p>
            <a:r>
              <a:rPr lang="en-US" sz="2000" dirty="0">
                <a:solidFill>
                  <a:srgbClr val="003366"/>
                </a:solidFill>
                <a:highlight>
                  <a:srgbClr val="99CCFF"/>
                </a:highlight>
              </a:rPr>
              <a:t>Not as cheap as we had expected…</a:t>
            </a:r>
          </a:p>
        </p:txBody>
      </p:sp>
    </p:spTree>
    <p:extLst>
      <p:ext uri="{BB962C8B-B14F-4D97-AF65-F5344CB8AC3E}">
        <p14:creationId xmlns:p14="http://schemas.microsoft.com/office/powerpoint/2010/main" val="931485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FD36D0D-83E3-48DD-B629-CB823FD06C50}"/>
              </a:ext>
            </a:extLst>
          </p:cNvPr>
          <p:cNvSpPr>
            <a:spLocks noGrp="1"/>
          </p:cNvSpPr>
          <p:nvPr>
            <p:ph idx="1"/>
          </p:nvPr>
        </p:nvSpPr>
        <p:spPr/>
        <p:txBody>
          <a:bodyPr/>
          <a:lstStyle/>
          <a:p>
            <a:pPr marL="0" indent="0">
              <a:buNone/>
            </a:pPr>
            <a:r>
              <a:rPr lang="en-US" dirty="0"/>
              <a:t>There are several methods that allow us to calculate nuclear derivatives of energies. They are standing on the shoulders of many years of electronic structure developments.</a:t>
            </a:r>
          </a:p>
          <a:p>
            <a:pPr marL="0" indent="0">
              <a:buNone/>
            </a:pPr>
            <a:endParaRPr lang="en-US" dirty="0"/>
          </a:p>
          <a:p>
            <a:pPr marL="0" indent="0">
              <a:buNone/>
            </a:pPr>
            <a:r>
              <a:rPr lang="en-US" dirty="0"/>
              <a:t>There seems to be no quality of the quantum computer that would make classical MD driven by VQE faster than classical computers. </a:t>
            </a:r>
          </a:p>
          <a:p>
            <a:pPr marL="0" indent="0">
              <a:buNone/>
            </a:pPr>
            <a:endParaRPr lang="en-US" dirty="0"/>
          </a:p>
          <a:p>
            <a:pPr marL="0" indent="0">
              <a:buNone/>
            </a:pPr>
            <a:r>
              <a:rPr lang="en-US" dirty="0"/>
              <a:t>If we replace the classical electronic structure driver with VQE, the quantum computer needs to outperform all classical computers at the same task. This is unlikely in NISQ.</a:t>
            </a:r>
          </a:p>
        </p:txBody>
      </p:sp>
      <p:sp>
        <p:nvSpPr>
          <p:cNvPr id="4" name="Slide Number Placeholder 3">
            <a:extLst>
              <a:ext uri="{FF2B5EF4-FFF2-40B4-BE49-F238E27FC236}">
                <a16:creationId xmlns:a16="http://schemas.microsoft.com/office/drawing/2014/main" id="{FFEDC3C3-2CE6-4A18-9FA3-03D473185DEF}"/>
              </a:ext>
            </a:extLst>
          </p:cNvPr>
          <p:cNvSpPr>
            <a:spLocks noGrp="1"/>
          </p:cNvSpPr>
          <p:nvPr>
            <p:ph type="sldNum" sz="quarter" idx="12"/>
          </p:nvPr>
        </p:nvSpPr>
        <p:spPr/>
        <p:txBody>
          <a:bodyPr/>
          <a:lstStyle/>
          <a:p>
            <a:fld id="{143B55C4-4F5A-416B-997D-6CE47EB0A945}" type="slidenum">
              <a:rPr lang="en-GB" noProof="0" smtClean="0"/>
              <a:t>28</a:t>
            </a:fld>
            <a:endParaRPr lang="en-GB" noProof="0" dirty="0"/>
          </a:p>
        </p:txBody>
      </p:sp>
      <p:sp>
        <p:nvSpPr>
          <p:cNvPr id="5" name="Title 4">
            <a:extLst>
              <a:ext uri="{FF2B5EF4-FFF2-40B4-BE49-F238E27FC236}">
                <a16:creationId xmlns:a16="http://schemas.microsoft.com/office/drawing/2014/main" id="{F606E2C2-06F4-48FB-ACE5-8CAC30DF3B74}"/>
              </a:ext>
            </a:extLst>
          </p:cNvPr>
          <p:cNvSpPr>
            <a:spLocks noGrp="1"/>
          </p:cNvSpPr>
          <p:nvPr>
            <p:ph type="title"/>
          </p:nvPr>
        </p:nvSpPr>
        <p:spPr/>
        <p:txBody>
          <a:bodyPr/>
          <a:lstStyle/>
          <a:p>
            <a:r>
              <a:rPr lang="en-US" dirty="0"/>
              <a:t>Conclusions</a:t>
            </a:r>
          </a:p>
        </p:txBody>
      </p:sp>
    </p:spTree>
    <p:extLst>
      <p:ext uri="{BB962C8B-B14F-4D97-AF65-F5344CB8AC3E}">
        <p14:creationId xmlns:p14="http://schemas.microsoft.com/office/powerpoint/2010/main" val="536079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a:t>Forces in FTQC</a:t>
            </a:r>
          </a:p>
        </p:txBody>
      </p:sp>
      <p:sp>
        <p:nvSpPr>
          <p:cNvPr id="3" name="Textplatzhalter 2"/>
          <p:cNvSpPr>
            <a:spLocks noGrp="1"/>
          </p:cNvSpPr>
          <p:nvPr>
            <p:ph type="body" sz="quarter" idx="12"/>
          </p:nvPr>
        </p:nvSpPr>
        <p:spPr/>
        <p:txBody>
          <a:bodyPr/>
          <a:lstStyle/>
          <a:p>
            <a:endParaRPr lang="en-GB" dirty="0"/>
          </a:p>
        </p:txBody>
      </p:sp>
    </p:spTree>
    <p:extLst>
      <p:ext uri="{BB962C8B-B14F-4D97-AF65-F5344CB8AC3E}">
        <p14:creationId xmlns:p14="http://schemas.microsoft.com/office/powerpoint/2010/main" val="257863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3" hidden="1">
            <a:extLst>
              <a:ext uri="{FF2B5EF4-FFF2-40B4-BE49-F238E27FC236}">
                <a16:creationId xmlns:a16="http://schemas.microsoft.com/office/drawing/2014/main" id="{E135EB51-FB19-49EF-BC4A-37B39A907E8B}"/>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17" imgW="425" imgH="426" progId="TCLayout.ActiveDocument.1">
                  <p:embed/>
                </p:oleObj>
              </mc:Choice>
              <mc:Fallback>
                <p:oleObj name="think-cell Slide" r:id="rId17" imgW="425" imgH="426" progId="TCLayout.ActiveDocument.1">
                  <p:embed/>
                  <p:pic>
                    <p:nvPicPr>
                      <p:cNvPr id="3" name="Object 3" hidden="1">
                        <a:extLst>
                          <a:ext uri="{FF2B5EF4-FFF2-40B4-BE49-F238E27FC236}">
                            <a16:creationId xmlns:a16="http://schemas.microsoft.com/office/drawing/2014/main" id="{E135EB51-FB19-49EF-BC4A-37B39A907E8B}"/>
                          </a:ext>
                        </a:extLst>
                      </p:cNvPr>
                      <p:cNvPicPr/>
                      <p:nvPr/>
                    </p:nvPicPr>
                    <p:blipFill>
                      <a:blip r:embed="rId18"/>
                      <a:stretch>
                        <a:fillRect/>
                      </a:stretch>
                    </p:blipFill>
                    <p:spPr>
                      <a:xfrm>
                        <a:off x="1590" y="1590"/>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8A1E18-9972-4967-9985-7D8264C51822}"/>
              </a:ext>
            </a:extLst>
          </p:cNvPr>
          <p:cNvSpPr/>
          <p:nvPr>
            <p:custDataLst>
              <p:tags r:id="rId2"/>
            </p:custDataLst>
          </p:nvPr>
        </p:nvSpPr>
        <p:spPr>
          <a:xfrm>
            <a:off x="1" y="1"/>
            <a:ext cx="158750" cy="158750"/>
          </a:xfrm>
          <a:prstGeom prst="rect">
            <a:avLst/>
          </a:prstGeom>
          <a:solidFill>
            <a:srgbClr val="003366"/>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defTabSz="914355">
              <a:defRPr/>
            </a:pPr>
            <a:endParaRPr lang="en-US" dirty="0">
              <a:solidFill>
                <a:srgbClr val="FFFFFF"/>
              </a:solidFill>
              <a:latin typeface="BISansCond" panose="02000006050000020004" pitchFamily="2" charset="0"/>
              <a:ea typeface="+mj-ea"/>
              <a:cs typeface="+mj-cs"/>
              <a:sym typeface="BISansCond" panose="02000006050000020004" pitchFamily="2" charset="0"/>
            </a:endParaRPr>
          </a:p>
        </p:txBody>
      </p:sp>
      <p:sp>
        <p:nvSpPr>
          <p:cNvPr id="12" name="2. Slide Title"/>
          <p:cNvSpPr>
            <a:spLocks noGrp="1"/>
          </p:cNvSpPr>
          <p:nvPr>
            <p:ph type="title"/>
            <p:custDataLst>
              <p:tags r:id="rId3"/>
            </p:custDataLst>
          </p:nvPr>
        </p:nvSpPr>
        <p:spPr>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en-US" dirty="0">
                <a:latin typeface="BISansCond" panose="02000006050000020004" pitchFamily="2" charset="0"/>
              </a:rPr>
              <a:t>First targets: chemistry</a:t>
            </a:r>
            <a:endParaRPr lang="en-GB" dirty="0">
              <a:latin typeface="BISansCond" panose="02000006050000020004" pitchFamily="2" charset="0"/>
            </a:endParaRPr>
          </a:p>
        </p:txBody>
      </p:sp>
      <p:cxnSp>
        <p:nvCxnSpPr>
          <p:cNvPr id="104" name="Straight Connector 103">
            <a:extLst>
              <a:ext uri="{FF2B5EF4-FFF2-40B4-BE49-F238E27FC236}">
                <a16:creationId xmlns:a16="http://schemas.microsoft.com/office/drawing/2014/main" id="{E93BAF95-22E4-4954-9E67-E8D3C89C0D4A}"/>
              </a:ext>
            </a:extLst>
          </p:cNvPr>
          <p:cNvCxnSpPr>
            <a:cxnSpLocks/>
          </p:cNvCxnSpPr>
          <p:nvPr/>
        </p:nvCxnSpPr>
        <p:spPr>
          <a:xfrm>
            <a:off x="416052" y="2559785"/>
            <a:ext cx="2422667"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57150D85-3CAF-4686-91B2-AC667975DEF4}"/>
              </a:ext>
            </a:extLst>
          </p:cNvPr>
          <p:cNvCxnSpPr>
            <a:cxnSpLocks/>
          </p:cNvCxnSpPr>
          <p:nvPr/>
        </p:nvCxnSpPr>
        <p:spPr>
          <a:xfrm>
            <a:off x="2957854" y="2559785"/>
            <a:ext cx="2422667"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3D2E048-1DAD-4CAD-9579-E5B2BCBCA628}"/>
              </a:ext>
            </a:extLst>
          </p:cNvPr>
          <p:cNvGrpSpPr/>
          <p:nvPr>
            <p:custDataLst>
              <p:tags r:id="rId4"/>
            </p:custDataLst>
          </p:nvPr>
        </p:nvGrpSpPr>
        <p:grpSpPr>
          <a:xfrm>
            <a:off x="416052" y="1746660"/>
            <a:ext cx="2537345" cy="504091"/>
            <a:chOff x="554736" y="2328880"/>
            <a:chExt cx="3383126" cy="672121"/>
          </a:xfrm>
        </p:grpSpPr>
        <p:sp>
          <p:nvSpPr>
            <p:cNvPr id="4" name="Freeform: Shape 3">
              <a:extLst>
                <a:ext uri="{FF2B5EF4-FFF2-40B4-BE49-F238E27FC236}">
                  <a16:creationId xmlns:a16="http://schemas.microsoft.com/office/drawing/2014/main" id="{282221A7-4413-480B-88EB-BBC8994513AD}"/>
                </a:ext>
              </a:extLst>
            </p:cNvPr>
            <p:cNvSpPr/>
            <p:nvPr>
              <p:custDataLst>
                <p:tags r:id="rId13"/>
              </p:custDataLst>
            </p:nvPr>
          </p:nvSpPr>
          <p:spPr>
            <a:xfrm>
              <a:off x="554736" y="2328880"/>
              <a:ext cx="3383126" cy="67212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18955 w 1828800"/>
                <a:gd name="connsiteY5" fmla="*/ 457200 h 914400"/>
                <a:gd name="connsiteX0" fmla="*/ 0 w 1828800"/>
                <a:gd name="connsiteY0" fmla="*/ 0 h 914400"/>
                <a:gd name="connsiteX1" fmla="*/ 1709845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18955 w 1828800"/>
                <a:gd name="connsiteY5" fmla="*/ 457200 h 914400"/>
                <a:gd name="connsiteX0" fmla="*/ 0 w 1828800"/>
                <a:gd name="connsiteY0" fmla="*/ 0 h 914400"/>
                <a:gd name="connsiteX1" fmla="*/ 1709845 w 1828800"/>
                <a:gd name="connsiteY1" fmla="*/ 0 h 914400"/>
                <a:gd name="connsiteX2" fmla="*/ 1828800 w 1828800"/>
                <a:gd name="connsiteY2" fmla="*/ 457200 h 914400"/>
                <a:gd name="connsiteX3" fmla="*/ 1709845 w 1828800"/>
                <a:gd name="connsiteY3" fmla="*/ 914400 h 914400"/>
                <a:gd name="connsiteX4" fmla="*/ 0 w 1828800"/>
                <a:gd name="connsiteY4" fmla="*/ 914400 h 914400"/>
                <a:gd name="connsiteX5" fmla="*/ 118955 w 1828800"/>
                <a:gd name="connsiteY5" fmla="*/ 457200 h 914400"/>
                <a:gd name="connsiteX0" fmla="*/ 0 w 1828800"/>
                <a:gd name="connsiteY0" fmla="*/ 0 h 914400"/>
                <a:gd name="connsiteX1" fmla="*/ 1709845 w 1828800"/>
                <a:gd name="connsiteY1" fmla="*/ 0 h 914400"/>
                <a:gd name="connsiteX2" fmla="*/ 1828800 w 1828800"/>
                <a:gd name="connsiteY2" fmla="*/ 457200 h 914400"/>
                <a:gd name="connsiteX3" fmla="*/ 170984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9845 w 1828800"/>
                <a:gd name="connsiteY1" fmla="*/ 0 h 914400"/>
                <a:gd name="connsiteX2" fmla="*/ 1828800 w 1828800"/>
                <a:gd name="connsiteY2" fmla="*/ 457200 h 914400"/>
                <a:gd name="connsiteX3" fmla="*/ 170984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9845 w 1828800"/>
                <a:gd name="connsiteY1" fmla="*/ 0 h 914400"/>
                <a:gd name="connsiteX2" fmla="*/ 1828800 w 1828800"/>
                <a:gd name="connsiteY2" fmla="*/ 457200 h 914400"/>
                <a:gd name="connsiteX3" fmla="*/ 170984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9845 w 1828800"/>
                <a:gd name="connsiteY1" fmla="*/ 0 h 914400"/>
                <a:gd name="connsiteX2" fmla="*/ 1828800 w 1828800"/>
                <a:gd name="connsiteY2" fmla="*/ 457200 h 914400"/>
                <a:gd name="connsiteX3" fmla="*/ 170984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8308 w 1828800"/>
                <a:gd name="connsiteY1" fmla="*/ 0 h 914400"/>
                <a:gd name="connsiteX2" fmla="*/ 1828800 w 1828800"/>
                <a:gd name="connsiteY2" fmla="*/ 457200 h 914400"/>
                <a:gd name="connsiteX3" fmla="*/ 170984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8308 w 1828800"/>
                <a:gd name="connsiteY1" fmla="*/ 0 h 914400"/>
                <a:gd name="connsiteX2" fmla="*/ 1828800 w 1828800"/>
                <a:gd name="connsiteY2" fmla="*/ 457200 h 914400"/>
                <a:gd name="connsiteX3" fmla="*/ 17483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8308 w 1828800"/>
                <a:gd name="connsiteY1" fmla="*/ 0 h 914400"/>
                <a:gd name="connsiteX2" fmla="*/ 1828800 w 1828800"/>
                <a:gd name="connsiteY2" fmla="*/ 457200 h 914400"/>
                <a:gd name="connsiteX3" fmla="*/ 1748308 w 1828800"/>
                <a:gd name="connsiteY3" fmla="*/ 914400 h 914400"/>
                <a:gd name="connsiteX4" fmla="*/ 0 w 1828800"/>
                <a:gd name="connsiteY4" fmla="*/ 914400 h 914400"/>
                <a:gd name="connsiteX5" fmla="*/ 80492 w 1828800"/>
                <a:gd name="connsiteY5" fmla="*/ 457200 h 914400"/>
                <a:gd name="connsiteX0" fmla="*/ 0 w 1828800"/>
                <a:gd name="connsiteY0" fmla="*/ 0 h 914400"/>
                <a:gd name="connsiteX1" fmla="*/ 1748308 w 1828800"/>
                <a:gd name="connsiteY1" fmla="*/ 0 h 914400"/>
                <a:gd name="connsiteX2" fmla="*/ 1828800 w 1828800"/>
                <a:gd name="connsiteY2" fmla="*/ 457200 h 914400"/>
                <a:gd name="connsiteX3" fmla="*/ 1748308 w 1828800"/>
                <a:gd name="connsiteY3" fmla="*/ 914400 h 914400"/>
                <a:gd name="connsiteX4" fmla="*/ 0 w 1828800"/>
                <a:gd name="connsiteY4" fmla="*/ 914400 h 914400"/>
                <a:gd name="connsiteX5" fmla="*/ 80492 w 1828800"/>
                <a:gd name="connsiteY5" fmla="*/ 457200 h 914400"/>
                <a:gd name="connsiteX0" fmla="*/ 0 w 1828800"/>
                <a:gd name="connsiteY0" fmla="*/ 0 h 914400"/>
                <a:gd name="connsiteX1" fmla="*/ 1748308 w 1828800"/>
                <a:gd name="connsiteY1" fmla="*/ 0 h 914400"/>
                <a:gd name="connsiteX2" fmla="*/ 1828800 w 1828800"/>
                <a:gd name="connsiteY2" fmla="*/ 457200 h 914400"/>
                <a:gd name="connsiteX3" fmla="*/ 1748308 w 1828800"/>
                <a:gd name="connsiteY3" fmla="*/ 914400 h 914400"/>
                <a:gd name="connsiteX4" fmla="*/ 0 w 1828800"/>
                <a:gd name="connsiteY4" fmla="*/ 914400 h 914400"/>
                <a:gd name="connsiteX5" fmla="*/ 80492 w 1828800"/>
                <a:gd name="connsiteY5" fmla="*/ 457200 h 914400"/>
                <a:gd name="connsiteX0" fmla="*/ 0 w 1828800"/>
                <a:gd name="connsiteY0" fmla="*/ 0 h 914400"/>
                <a:gd name="connsiteX1" fmla="*/ 1748308 w 1828800"/>
                <a:gd name="connsiteY1" fmla="*/ 0 h 914400"/>
                <a:gd name="connsiteX2" fmla="*/ 1828800 w 1828800"/>
                <a:gd name="connsiteY2" fmla="*/ 457200 h 914400"/>
                <a:gd name="connsiteX3" fmla="*/ 17483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8308 w 1828800"/>
                <a:gd name="connsiteY1" fmla="*/ 0 h 914400"/>
                <a:gd name="connsiteX2" fmla="*/ 1828800 w 1828800"/>
                <a:gd name="connsiteY2" fmla="*/ 457200 h 914400"/>
                <a:gd name="connsiteX3" fmla="*/ 17483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8308 w 1828800"/>
                <a:gd name="connsiteY1" fmla="*/ 0 h 914400"/>
                <a:gd name="connsiteX2" fmla="*/ 1828800 w 1828800"/>
                <a:gd name="connsiteY2" fmla="*/ 457200 h 914400"/>
                <a:gd name="connsiteX3" fmla="*/ 17483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8308 w 1828800"/>
                <a:gd name="connsiteY1" fmla="*/ 0 h 914400"/>
                <a:gd name="connsiteX2" fmla="*/ 1828800 w 1828800"/>
                <a:gd name="connsiteY2" fmla="*/ 457200 h 914400"/>
                <a:gd name="connsiteX3" fmla="*/ 1748308 w 1828800"/>
                <a:gd name="connsiteY3" fmla="*/ 914400 h 914400"/>
                <a:gd name="connsiteX4" fmla="*/ 0 w 1828800"/>
                <a:gd name="connsiteY4" fmla="*/ 914400 h 914400"/>
                <a:gd name="connsiteX5" fmla="*/ 82655 w 1828800"/>
                <a:gd name="connsiteY5" fmla="*/ 457200 h 914400"/>
                <a:gd name="connsiteX0" fmla="*/ 0 w 1828800"/>
                <a:gd name="connsiteY0" fmla="*/ 0 h 914400"/>
                <a:gd name="connsiteX1" fmla="*/ 1746145 w 1828800"/>
                <a:gd name="connsiteY1" fmla="*/ 0 h 914400"/>
                <a:gd name="connsiteX2" fmla="*/ 1828800 w 1828800"/>
                <a:gd name="connsiteY2" fmla="*/ 457200 h 914400"/>
                <a:gd name="connsiteX3" fmla="*/ 1748308 w 1828800"/>
                <a:gd name="connsiteY3" fmla="*/ 914400 h 914400"/>
                <a:gd name="connsiteX4" fmla="*/ 0 w 1828800"/>
                <a:gd name="connsiteY4" fmla="*/ 914400 h 914400"/>
                <a:gd name="connsiteX5" fmla="*/ 82655 w 1828800"/>
                <a:gd name="connsiteY5" fmla="*/ 457200 h 914400"/>
                <a:gd name="connsiteX0" fmla="*/ 0 w 1828800"/>
                <a:gd name="connsiteY0" fmla="*/ 0 h 914400"/>
                <a:gd name="connsiteX1" fmla="*/ 1746145 w 1828800"/>
                <a:gd name="connsiteY1" fmla="*/ 0 h 914400"/>
                <a:gd name="connsiteX2" fmla="*/ 1828800 w 1828800"/>
                <a:gd name="connsiteY2" fmla="*/ 457200 h 914400"/>
                <a:gd name="connsiteX3" fmla="*/ 1746145 w 1828800"/>
                <a:gd name="connsiteY3" fmla="*/ 914400 h 914400"/>
                <a:gd name="connsiteX4" fmla="*/ 0 w 1828800"/>
                <a:gd name="connsiteY4" fmla="*/ 914400 h 914400"/>
                <a:gd name="connsiteX5" fmla="*/ 82655 w 1828800"/>
                <a:gd name="connsiteY5" fmla="*/ 457200 h 914400"/>
                <a:gd name="connsiteX0" fmla="*/ 0 w 1828800"/>
                <a:gd name="connsiteY0" fmla="*/ 0 h 914400"/>
                <a:gd name="connsiteX1" fmla="*/ 1746145 w 1828800"/>
                <a:gd name="connsiteY1" fmla="*/ 0 h 914400"/>
                <a:gd name="connsiteX2" fmla="*/ 1828800 w 1828800"/>
                <a:gd name="connsiteY2" fmla="*/ 457200 h 914400"/>
                <a:gd name="connsiteX3" fmla="*/ 1746145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46145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65399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65399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65399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65399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65399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65399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63401" y="0"/>
                  </a:lnTo>
                  <a:lnTo>
                    <a:pt x="1828800" y="457200"/>
                  </a:lnTo>
                  <a:lnTo>
                    <a:pt x="1763401" y="914400"/>
                  </a:lnTo>
                  <a:lnTo>
                    <a:pt x="0" y="914400"/>
                  </a:lnTo>
                  <a:lnTo>
                    <a:pt x="0" y="457201"/>
                  </a:ln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500" b="1" err="1">
                <a:solidFill>
                  <a:schemeClr val="tx1"/>
                </a:solidFill>
              </a:endParaRPr>
            </a:p>
          </p:txBody>
        </p:sp>
        <p:sp>
          <p:nvSpPr>
            <p:cNvPr id="28" name="TextBox 27">
              <a:extLst>
                <a:ext uri="{FF2B5EF4-FFF2-40B4-BE49-F238E27FC236}">
                  <a16:creationId xmlns:a16="http://schemas.microsoft.com/office/drawing/2014/main" id="{5669AFC4-9A4C-4955-8AC0-86E7EE0231DA}"/>
                </a:ext>
              </a:extLst>
            </p:cNvPr>
            <p:cNvSpPr txBox="1"/>
            <p:nvPr>
              <p:custDataLst>
                <p:tags r:id="rId14"/>
              </p:custDataLst>
            </p:nvPr>
          </p:nvSpPr>
          <p:spPr>
            <a:xfrm>
              <a:off x="618236" y="2375555"/>
              <a:ext cx="3198644" cy="578771"/>
            </a:xfrm>
            <a:prstGeom prst="rect">
              <a:avLst/>
            </a:prstGeom>
            <a:solidFill>
              <a:schemeClr val="accent2">
                <a:lumMod val="40000"/>
                <a:lumOff val="60000"/>
              </a:schemeClr>
            </a:solidFill>
            <a:ln>
              <a:noFill/>
            </a:ln>
          </p:spPr>
          <p:txBody>
            <a:bodyPr vert="horz" lIns="0" tIns="0" rIns="0" bIns="0" rtlCol="0" anchor="ctr">
              <a:noAutofit/>
            </a:bodyPr>
            <a:lstStyle>
              <a:lvl1pPr marL="266693" lvl="0" indent="-266693" defTabSz="914378">
                <a:spcBef>
                  <a:spcPts val="400"/>
                </a:spcBef>
                <a:buFont typeface="Arial" panose="020B0604020202020204" pitchFamily="34" charset="0"/>
                <a:buChar char="•"/>
                <a:defRPr sz="1400"/>
              </a:lvl1pPr>
              <a:lvl2pPr marL="450839" lvl="1" indent="-184145" defTabSz="914378">
                <a:spcBef>
                  <a:spcPts val="0"/>
                </a:spcBef>
                <a:buFont typeface="Arial" panose="020B0604020202020204" pitchFamily="34" charset="0"/>
                <a:buChar char="•"/>
                <a:defRPr sz="1400"/>
              </a:lvl2pPr>
              <a:lvl3pPr marL="628634" lvl="2" indent="-177796" defTabSz="914378">
                <a:spcBef>
                  <a:spcPts val="0"/>
                </a:spcBef>
                <a:buFont typeface="Arial" panose="020B0604020202020204" pitchFamily="34" charset="0"/>
                <a:buChar char="•"/>
                <a:defRPr sz="1400"/>
              </a:lvl3pPr>
              <a:lvl4pPr marL="806430" lvl="3" indent="-177796" defTabSz="914378">
                <a:spcBef>
                  <a:spcPts val="0"/>
                </a:spcBef>
                <a:buFont typeface="Arial" panose="020B0604020202020204" pitchFamily="34" charset="0"/>
                <a:buChar char="•"/>
                <a:defRPr sz="1400"/>
              </a:lvl4pPr>
              <a:lvl5pPr marL="984226" lvl="4" indent="-177796" defTabSz="914378">
                <a:spcBef>
                  <a:spcPts val="0"/>
                </a:spcBef>
                <a:buFont typeface="Arial" panose="020B0604020202020204" pitchFamily="34" charset="0"/>
                <a:buChar char="•"/>
                <a:defRPr sz="1400"/>
              </a:lvl5pPr>
              <a:lvl6pPr marL="2514537" indent="-228594" defTabSz="914378">
                <a:spcBef>
                  <a:spcPct val="20000"/>
                </a:spcBef>
                <a:buFont typeface="Arial" panose="020B0604020202020204" pitchFamily="34" charset="0"/>
                <a:buChar char="•"/>
                <a:defRPr sz="2000"/>
              </a:lvl6pPr>
              <a:lvl7pPr marL="2971726" indent="-228594" defTabSz="914378">
                <a:spcBef>
                  <a:spcPct val="20000"/>
                </a:spcBef>
                <a:buFont typeface="Arial" panose="020B0604020202020204" pitchFamily="34" charset="0"/>
                <a:buChar char="•"/>
                <a:defRPr sz="2000"/>
              </a:lvl7pPr>
              <a:lvl8pPr marL="3428915" indent="-228594" defTabSz="914378">
                <a:spcBef>
                  <a:spcPct val="20000"/>
                </a:spcBef>
                <a:buFont typeface="Arial" panose="020B0604020202020204" pitchFamily="34" charset="0"/>
                <a:buChar char="•"/>
                <a:defRPr sz="2000"/>
              </a:lvl8pPr>
              <a:lvl9pPr marL="3886103" indent="-228594" defTabSz="914378">
                <a:spcBef>
                  <a:spcPct val="20000"/>
                </a:spcBef>
                <a:buFont typeface="Arial" panose="020B0604020202020204" pitchFamily="34" charset="0"/>
                <a:buChar char="•"/>
                <a:defRPr sz="2000"/>
              </a:lvl9pPr>
            </a:lstStyle>
            <a:p>
              <a:pPr marL="83344" indent="0">
                <a:buNone/>
              </a:pPr>
              <a:r>
                <a:rPr lang="en-US" sz="1500" b="1" dirty="0"/>
                <a:t>Research</a:t>
              </a:r>
            </a:p>
          </p:txBody>
        </p:sp>
      </p:grpSp>
      <p:grpSp>
        <p:nvGrpSpPr>
          <p:cNvPr id="26" name="Group 25">
            <a:extLst>
              <a:ext uri="{FF2B5EF4-FFF2-40B4-BE49-F238E27FC236}">
                <a16:creationId xmlns:a16="http://schemas.microsoft.com/office/drawing/2014/main" id="{E6BA824A-8A7F-43E9-9905-99E42DED872A}"/>
              </a:ext>
            </a:extLst>
          </p:cNvPr>
          <p:cNvGrpSpPr/>
          <p:nvPr>
            <p:custDataLst>
              <p:tags r:id="rId5"/>
            </p:custDataLst>
          </p:nvPr>
        </p:nvGrpSpPr>
        <p:grpSpPr>
          <a:xfrm>
            <a:off x="2957855" y="1746660"/>
            <a:ext cx="2537345" cy="504091"/>
            <a:chOff x="3943807" y="2181735"/>
            <a:chExt cx="3383126" cy="672121"/>
          </a:xfrm>
          <a:solidFill>
            <a:schemeClr val="accent2">
              <a:lumMod val="40000"/>
              <a:lumOff val="60000"/>
            </a:schemeClr>
          </a:solidFill>
        </p:grpSpPr>
        <p:sp>
          <p:nvSpPr>
            <p:cNvPr id="33" name="Freeform: Shape 32">
              <a:extLst>
                <a:ext uri="{FF2B5EF4-FFF2-40B4-BE49-F238E27FC236}">
                  <a16:creationId xmlns:a16="http://schemas.microsoft.com/office/drawing/2014/main" id="{5FBA651B-29E7-4D2D-82EB-CF38C6B3C478}"/>
                </a:ext>
              </a:extLst>
            </p:cNvPr>
            <p:cNvSpPr/>
            <p:nvPr>
              <p:custDataLst>
                <p:tags r:id="rId11"/>
              </p:custDataLst>
            </p:nvPr>
          </p:nvSpPr>
          <p:spPr>
            <a:xfrm>
              <a:off x="3943807" y="2181735"/>
              <a:ext cx="3383126" cy="67212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17649 w 1828800"/>
                <a:gd name="connsiteY5" fmla="*/ 457200 h 914400"/>
                <a:gd name="connsiteX0" fmla="*/ 0 w 1828800"/>
                <a:gd name="connsiteY0" fmla="*/ 0 h 914400"/>
                <a:gd name="connsiteX1" fmla="*/ 171115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17649 w 1828800"/>
                <a:gd name="connsiteY5" fmla="*/ 457200 h 914400"/>
                <a:gd name="connsiteX0" fmla="*/ 0 w 1828800"/>
                <a:gd name="connsiteY0" fmla="*/ 0 h 914400"/>
                <a:gd name="connsiteX1" fmla="*/ 1711151 w 1828800"/>
                <a:gd name="connsiteY1" fmla="*/ 0 h 914400"/>
                <a:gd name="connsiteX2" fmla="*/ 1828800 w 1828800"/>
                <a:gd name="connsiteY2" fmla="*/ 457200 h 914400"/>
                <a:gd name="connsiteX3" fmla="*/ 1711151 w 1828800"/>
                <a:gd name="connsiteY3" fmla="*/ 914400 h 914400"/>
                <a:gd name="connsiteX4" fmla="*/ 0 w 1828800"/>
                <a:gd name="connsiteY4" fmla="*/ 914400 h 914400"/>
                <a:gd name="connsiteX5" fmla="*/ 117649 w 1828800"/>
                <a:gd name="connsiteY5" fmla="*/ 457200 h 914400"/>
                <a:gd name="connsiteX0" fmla="*/ 0 w 1828800"/>
                <a:gd name="connsiteY0" fmla="*/ 0 h 914400"/>
                <a:gd name="connsiteX1" fmla="*/ 1711151 w 1828800"/>
                <a:gd name="connsiteY1" fmla="*/ 0 h 914400"/>
                <a:gd name="connsiteX2" fmla="*/ 1828800 w 1828800"/>
                <a:gd name="connsiteY2" fmla="*/ 457200 h 914400"/>
                <a:gd name="connsiteX3" fmla="*/ 17111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7059 w 1828800"/>
                <a:gd name="connsiteY1" fmla="*/ 0 h 914400"/>
                <a:gd name="connsiteX2" fmla="*/ 1828800 w 1828800"/>
                <a:gd name="connsiteY2" fmla="*/ 457200 h 914400"/>
                <a:gd name="connsiteX3" fmla="*/ 17111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7059 w 1828800"/>
                <a:gd name="connsiteY1" fmla="*/ 0 h 914400"/>
                <a:gd name="connsiteX2" fmla="*/ 1828800 w 1828800"/>
                <a:gd name="connsiteY2" fmla="*/ 457200 h 914400"/>
                <a:gd name="connsiteX3" fmla="*/ 170705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7059 w 1828800"/>
                <a:gd name="connsiteY1" fmla="*/ 0 h 914400"/>
                <a:gd name="connsiteX2" fmla="*/ 1828800 w 1828800"/>
                <a:gd name="connsiteY2" fmla="*/ 457200 h 914400"/>
                <a:gd name="connsiteX3" fmla="*/ 1707059 w 1828800"/>
                <a:gd name="connsiteY3" fmla="*/ 914400 h 914400"/>
                <a:gd name="connsiteX4" fmla="*/ 0 w 1828800"/>
                <a:gd name="connsiteY4" fmla="*/ 914400 h 914400"/>
                <a:gd name="connsiteX5" fmla="*/ 121741 w 1828800"/>
                <a:gd name="connsiteY5" fmla="*/ 457200 h 914400"/>
                <a:gd name="connsiteX0" fmla="*/ 0 w 1828800"/>
                <a:gd name="connsiteY0" fmla="*/ 0 h 914400"/>
                <a:gd name="connsiteX1" fmla="*/ 1707059 w 1828800"/>
                <a:gd name="connsiteY1" fmla="*/ 0 h 914400"/>
                <a:gd name="connsiteX2" fmla="*/ 1828800 w 1828800"/>
                <a:gd name="connsiteY2" fmla="*/ 457200 h 914400"/>
                <a:gd name="connsiteX3" fmla="*/ 1707059 w 1828800"/>
                <a:gd name="connsiteY3" fmla="*/ 914400 h 914400"/>
                <a:gd name="connsiteX4" fmla="*/ 0 w 1828800"/>
                <a:gd name="connsiteY4" fmla="*/ 914400 h 914400"/>
                <a:gd name="connsiteX5" fmla="*/ 121741 w 1828800"/>
                <a:gd name="connsiteY5" fmla="*/ 457200 h 914400"/>
                <a:gd name="connsiteX0" fmla="*/ 0 w 1828800"/>
                <a:gd name="connsiteY0" fmla="*/ 0 h 914400"/>
                <a:gd name="connsiteX1" fmla="*/ 1707059 w 1828800"/>
                <a:gd name="connsiteY1" fmla="*/ 0 h 914400"/>
                <a:gd name="connsiteX2" fmla="*/ 1828800 w 1828800"/>
                <a:gd name="connsiteY2" fmla="*/ 457200 h 914400"/>
                <a:gd name="connsiteX3" fmla="*/ 1707059 w 1828800"/>
                <a:gd name="connsiteY3" fmla="*/ 914400 h 914400"/>
                <a:gd name="connsiteX4" fmla="*/ 0 w 1828800"/>
                <a:gd name="connsiteY4" fmla="*/ 914400 h 914400"/>
                <a:gd name="connsiteX5" fmla="*/ 121741 w 1828800"/>
                <a:gd name="connsiteY5" fmla="*/ 457200 h 914400"/>
                <a:gd name="connsiteX0" fmla="*/ 0 w 1828800"/>
                <a:gd name="connsiteY0" fmla="*/ 0 h 914400"/>
                <a:gd name="connsiteX1" fmla="*/ 1707059 w 1828800"/>
                <a:gd name="connsiteY1" fmla="*/ 0 h 914400"/>
                <a:gd name="connsiteX2" fmla="*/ 1828800 w 1828800"/>
                <a:gd name="connsiteY2" fmla="*/ 457200 h 914400"/>
                <a:gd name="connsiteX3" fmla="*/ 170705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4905 w 1828800"/>
                <a:gd name="connsiteY1" fmla="*/ 0 h 914400"/>
                <a:gd name="connsiteX2" fmla="*/ 1828800 w 1828800"/>
                <a:gd name="connsiteY2" fmla="*/ 457200 h 914400"/>
                <a:gd name="connsiteX3" fmla="*/ 170705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4905 w 1828800"/>
                <a:gd name="connsiteY1" fmla="*/ 0 h 914400"/>
                <a:gd name="connsiteX2" fmla="*/ 1828800 w 1828800"/>
                <a:gd name="connsiteY2" fmla="*/ 457200 h 914400"/>
                <a:gd name="connsiteX3" fmla="*/ 170490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4905 w 1828800"/>
                <a:gd name="connsiteY1" fmla="*/ 0 h 914400"/>
                <a:gd name="connsiteX2" fmla="*/ 1828800 w 1828800"/>
                <a:gd name="connsiteY2" fmla="*/ 457200 h 914400"/>
                <a:gd name="connsiteX3" fmla="*/ 1704905 w 1828800"/>
                <a:gd name="connsiteY3" fmla="*/ 914400 h 914400"/>
                <a:gd name="connsiteX4" fmla="*/ 0 w 1828800"/>
                <a:gd name="connsiteY4" fmla="*/ 914400 h 914400"/>
                <a:gd name="connsiteX5" fmla="*/ 123895 w 1828800"/>
                <a:gd name="connsiteY5" fmla="*/ 457200 h 914400"/>
                <a:gd name="connsiteX0" fmla="*/ 0 w 1828800"/>
                <a:gd name="connsiteY0" fmla="*/ 0 h 914400"/>
                <a:gd name="connsiteX1" fmla="*/ 1704905 w 1828800"/>
                <a:gd name="connsiteY1" fmla="*/ 0 h 914400"/>
                <a:gd name="connsiteX2" fmla="*/ 1828800 w 1828800"/>
                <a:gd name="connsiteY2" fmla="*/ 457200 h 914400"/>
                <a:gd name="connsiteX3" fmla="*/ 1704905 w 1828800"/>
                <a:gd name="connsiteY3" fmla="*/ 914400 h 914400"/>
                <a:gd name="connsiteX4" fmla="*/ 0 w 1828800"/>
                <a:gd name="connsiteY4" fmla="*/ 914400 h 914400"/>
                <a:gd name="connsiteX5" fmla="*/ 123895 w 1828800"/>
                <a:gd name="connsiteY5" fmla="*/ 457200 h 914400"/>
                <a:gd name="connsiteX0" fmla="*/ 0 w 1828800"/>
                <a:gd name="connsiteY0" fmla="*/ 0 h 914400"/>
                <a:gd name="connsiteX1" fmla="*/ 1704905 w 1828800"/>
                <a:gd name="connsiteY1" fmla="*/ 0 h 914400"/>
                <a:gd name="connsiteX2" fmla="*/ 1828800 w 1828800"/>
                <a:gd name="connsiteY2" fmla="*/ 457200 h 914400"/>
                <a:gd name="connsiteX3" fmla="*/ 1704905 w 1828800"/>
                <a:gd name="connsiteY3" fmla="*/ 914400 h 914400"/>
                <a:gd name="connsiteX4" fmla="*/ 0 w 1828800"/>
                <a:gd name="connsiteY4" fmla="*/ 914400 h 914400"/>
                <a:gd name="connsiteX5" fmla="*/ 123895 w 1828800"/>
                <a:gd name="connsiteY5" fmla="*/ 457200 h 914400"/>
                <a:gd name="connsiteX0" fmla="*/ 0 w 1828800"/>
                <a:gd name="connsiteY0" fmla="*/ 0 h 914400"/>
                <a:gd name="connsiteX1" fmla="*/ 1704905 w 1828800"/>
                <a:gd name="connsiteY1" fmla="*/ 0 h 914400"/>
                <a:gd name="connsiteX2" fmla="*/ 1828800 w 1828800"/>
                <a:gd name="connsiteY2" fmla="*/ 457200 h 914400"/>
                <a:gd name="connsiteX3" fmla="*/ 170490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4905 w 1828800"/>
                <a:gd name="connsiteY1" fmla="*/ 0 h 914400"/>
                <a:gd name="connsiteX2" fmla="*/ 1828800 w 1828800"/>
                <a:gd name="connsiteY2" fmla="*/ 457200 h 914400"/>
                <a:gd name="connsiteX3" fmla="*/ 170490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4905 w 1828800"/>
                <a:gd name="connsiteY1" fmla="*/ 0 h 914400"/>
                <a:gd name="connsiteX2" fmla="*/ 1828800 w 1828800"/>
                <a:gd name="connsiteY2" fmla="*/ 457200 h 914400"/>
                <a:gd name="connsiteX3" fmla="*/ 170490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4905 w 1828800"/>
                <a:gd name="connsiteY1" fmla="*/ 0 h 914400"/>
                <a:gd name="connsiteX2" fmla="*/ 1828800 w 1828800"/>
                <a:gd name="connsiteY2" fmla="*/ 457200 h 914400"/>
                <a:gd name="connsiteX3" fmla="*/ 1704905 w 1828800"/>
                <a:gd name="connsiteY3" fmla="*/ 914400 h 914400"/>
                <a:gd name="connsiteX4" fmla="*/ 0 w 1828800"/>
                <a:gd name="connsiteY4" fmla="*/ 914400 h 914400"/>
                <a:gd name="connsiteX5" fmla="*/ 123895 w 1828800"/>
                <a:gd name="connsiteY5" fmla="*/ 457200 h 914400"/>
                <a:gd name="connsiteX0" fmla="*/ 0 w 1828800"/>
                <a:gd name="connsiteY0" fmla="*/ 0 h 914400"/>
                <a:gd name="connsiteX1" fmla="*/ 1704905 w 1828800"/>
                <a:gd name="connsiteY1" fmla="*/ 0 h 914400"/>
                <a:gd name="connsiteX2" fmla="*/ 1828800 w 1828800"/>
                <a:gd name="connsiteY2" fmla="*/ 457200 h 914400"/>
                <a:gd name="connsiteX3" fmla="*/ 1704905 w 1828800"/>
                <a:gd name="connsiteY3" fmla="*/ 914400 h 914400"/>
                <a:gd name="connsiteX4" fmla="*/ 0 w 1828800"/>
                <a:gd name="connsiteY4" fmla="*/ 914400 h 914400"/>
                <a:gd name="connsiteX5" fmla="*/ 123895 w 1828800"/>
                <a:gd name="connsiteY5" fmla="*/ 457200 h 914400"/>
                <a:gd name="connsiteX0" fmla="*/ 0 w 1828800"/>
                <a:gd name="connsiteY0" fmla="*/ 0 h 914400"/>
                <a:gd name="connsiteX1" fmla="*/ 1704905 w 1828800"/>
                <a:gd name="connsiteY1" fmla="*/ 0 h 914400"/>
                <a:gd name="connsiteX2" fmla="*/ 1828800 w 1828800"/>
                <a:gd name="connsiteY2" fmla="*/ 457200 h 914400"/>
                <a:gd name="connsiteX3" fmla="*/ 1704905 w 1828800"/>
                <a:gd name="connsiteY3" fmla="*/ 914400 h 914400"/>
                <a:gd name="connsiteX4" fmla="*/ 0 w 1828800"/>
                <a:gd name="connsiteY4" fmla="*/ 914400 h 914400"/>
                <a:gd name="connsiteX5" fmla="*/ 123895 w 1828800"/>
                <a:gd name="connsiteY5" fmla="*/ 457200 h 914400"/>
                <a:gd name="connsiteX0" fmla="*/ 0 w 1828800"/>
                <a:gd name="connsiteY0" fmla="*/ 0 h 914400"/>
                <a:gd name="connsiteX1" fmla="*/ 1704905 w 1828800"/>
                <a:gd name="connsiteY1" fmla="*/ 0 h 914400"/>
                <a:gd name="connsiteX2" fmla="*/ 1828800 w 1828800"/>
                <a:gd name="connsiteY2" fmla="*/ 457200 h 914400"/>
                <a:gd name="connsiteX3" fmla="*/ 1704905 w 1828800"/>
                <a:gd name="connsiteY3" fmla="*/ 914400 h 914400"/>
                <a:gd name="connsiteX4" fmla="*/ 0 w 1828800"/>
                <a:gd name="connsiteY4" fmla="*/ 914400 h 914400"/>
                <a:gd name="connsiteX5" fmla="*/ 83835 w 1828800"/>
                <a:gd name="connsiteY5" fmla="*/ 457200 h 914400"/>
                <a:gd name="connsiteX0" fmla="*/ 0 w 1828800"/>
                <a:gd name="connsiteY0" fmla="*/ 0 h 914400"/>
                <a:gd name="connsiteX1" fmla="*/ 1744965 w 1828800"/>
                <a:gd name="connsiteY1" fmla="*/ 0 h 914400"/>
                <a:gd name="connsiteX2" fmla="*/ 1828800 w 1828800"/>
                <a:gd name="connsiteY2" fmla="*/ 457200 h 914400"/>
                <a:gd name="connsiteX3" fmla="*/ 1704905 w 1828800"/>
                <a:gd name="connsiteY3" fmla="*/ 914400 h 914400"/>
                <a:gd name="connsiteX4" fmla="*/ 0 w 1828800"/>
                <a:gd name="connsiteY4" fmla="*/ 914400 h 914400"/>
                <a:gd name="connsiteX5" fmla="*/ 83835 w 1828800"/>
                <a:gd name="connsiteY5" fmla="*/ 457200 h 914400"/>
                <a:gd name="connsiteX0" fmla="*/ 0 w 1828800"/>
                <a:gd name="connsiteY0" fmla="*/ 0 h 914400"/>
                <a:gd name="connsiteX1" fmla="*/ 1744965 w 1828800"/>
                <a:gd name="connsiteY1" fmla="*/ 0 h 914400"/>
                <a:gd name="connsiteX2" fmla="*/ 1828800 w 1828800"/>
                <a:gd name="connsiteY2" fmla="*/ 457200 h 914400"/>
                <a:gd name="connsiteX3" fmla="*/ 1744965 w 1828800"/>
                <a:gd name="connsiteY3" fmla="*/ 914400 h 914400"/>
                <a:gd name="connsiteX4" fmla="*/ 0 w 1828800"/>
                <a:gd name="connsiteY4" fmla="*/ 914400 h 914400"/>
                <a:gd name="connsiteX5" fmla="*/ 83835 w 1828800"/>
                <a:gd name="connsiteY5" fmla="*/ 457200 h 914400"/>
                <a:gd name="connsiteX0" fmla="*/ 0 w 1828800"/>
                <a:gd name="connsiteY0" fmla="*/ 0 h 914400"/>
                <a:gd name="connsiteX1" fmla="*/ 1744965 w 1828800"/>
                <a:gd name="connsiteY1" fmla="*/ 0 h 914400"/>
                <a:gd name="connsiteX2" fmla="*/ 1828800 w 1828800"/>
                <a:gd name="connsiteY2" fmla="*/ 457200 h 914400"/>
                <a:gd name="connsiteX3" fmla="*/ 174496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4965 w 1828800"/>
                <a:gd name="connsiteY1" fmla="*/ 0 h 914400"/>
                <a:gd name="connsiteX2" fmla="*/ 1828800 w 1828800"/>
                <a:gd name="connsiteY2" fmla="*/ 457200 h 914400"/>
                <a:gd name="connsiteX3" fmla="*/ 174496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4965 w 1828800"/>
                <a:gd name="connsiteY1" fmla="*/ 0 h 914400"/>
                <a:gd name="connsiteX2" fmla="*/ 1828800 w 1828800"/>
                <a:gd name="connsiteY2" fmla="*/ 457200 h 914400"/>
                <a:gd name="connsiteX3" fmla="*/ 174496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4965 w 1828800"/>
                <a:gd name="connsiteY1" fmla="*/ 0 h 914400"/>
                <a:gd name="connsiteX2" fmla="*/ 1828800 w 1828800"/>
                <a:gd name="connsiteY2" fmla="*/ 457200 h 914400"/>
                <a:gd name="connsiteX3" fmla="*/ 1744965 w 1828800"/>
                <a:gd name="connsiteY3" fmla="*/ 914400 h 914400"/>
                <a:gd name="connsiteX4" fmla="*/ 0 w 1828800"/>
                <a:gd name="connsiteY4" fmla="*/ 914400 h 914400"/>
                <a:gd name="connsiteX5" fmla="*/ 83835 w 1828800"/>
                <a:gd name="connsiteY5" fmla="*/ 457200 h 914400"/>
                <a:gd name="connsiteX0" fmla="*/ 0 w 1828800"/>
                <a:gd name="connsiteY0" fmla="*/ 0 h 914400"/>
                <a:gd name="connsiteX1" fmla="*/ 1744965 w 1828800"/>
                <a:gd name="connsiteY1" fmla="*/ 0 h 914400"/>
                <a:gd name="connsiteX2" fmla="*/ 1828800 w 1828800"/>
                <a:gd name="connsiteY2" fmla="*/ 457200 h 914400"/>
                <a:gd name="connsiteX3" fmla="*/ 1744965 w 1828800"/>
                <a:gd name="connsiteY3" fmla="*/ 914400 h 914400"/>
                <a:gd name="connsiteX4" fmla="*/ 0 w 1828800"/>
                <a:gd name="connsiteY4" fmla="*/ 914400 h 914400"/>
                <a:gd name="connsiteX5" fmla="*/ 83835 w 1828800"/>
                <a:gd name="connsiteY5" fmla="*/ 457200 h 914400"/>
                <a:gd name="connsiteX0" fmla="*/ 0 w 1828800"/>
                <a:gd name="connsiteY0" fmla="*/ 0 h 914400"/>
                <a:gd name="connsiteX1" fmla="*/ 1744965 w 1828800"/>
                <a:gd name="connsiteY1" fmla="*/ 0 h 914400"/>
                <a:gd name="connsiteX2" fmla="*/ 1828800 w 1828800"/>
                <a:gd name="connsiteY2" fmla="*/ 457200 h 914400"/>
                <a:gd name="connsiteX3" fmla="*/ 1744965 w 1828800"/>
                <a:gd name="connsiteY3" fmla="*/ 914400 h 914400"/>
                <a:gd name="connsiteX4" fmla="*/ 0 w 1828800"/>
                <a:gd name="connsiteY4" fmla="*/ 914400 h 914400"/>
                <a:gd name="connsiteX5" fmla="*/ 83835 w 1828800"/>
                <a:gd name="connsiteY5" fmla="*/ 457200 h 914400"/>
                <a:gd name="connsiteX0" fmla="*/ 0 w 1828800"/>
                <a:gd name="connsiteY0" fmla="*/ 0 h 914400"/>
                <a:gd name="connsiteX1" fmla="*/ 1744965 w 1828800"/>
                <a:gd name="connsiteY1" fmla="*/ 0 h 914400"/>
                <a:gd name="connsiteX2" fmla="*/ 1828800 w 1828800"/>
                <a:gd name="connsiteY2" fmla="*/ 457200 h 914400"/>
                <a:gd name="connsiteX3" fmla="*/ 174496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6145 w 1828800"/>
                <a:gd name="connsiteY1" fmla="*/ 0 h 914400"/>
                <a:gd name="connsiteX2" fmla="*/ 1828800 w 1828800"/>
                <a:gd name="connsiteY2" fmla="*/ 457200 h 914400"/>
                <a:gd name="connsiteX3" fmla="*/ 174496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6145 w 1828800"/>
                <a:gd name="connsiteY1" fmla="*/ 0 h 914400"/>
                <a:gd name="connsiteX2" fmla="*/ 1828800 w 1828800"/>
                <a:gd name="connsiteY2" fmla="*/ 457200 h 914400"/>
                <a:gd name="connsiteX3" fmla="*/ 174614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6145 w 1828800"/>
                <a:gd name="connsiteY1" fmla="*/ 0 h 914400"/>
                <a:gd name="connsiteX2" fmla="*/ 1828800 w 1828800"/>
                <a:gd name="connsiteY2" fmla="*/ 457200 h 914400"/>
                <a:gd name="connsiteX3" fmla="*/ 1746145 w 1828800"/>
                <a:gd name="connsiteY3" fmla="*/ 914400 h 914400"/>
                <a:gd name="connsiteX4" fmla="*/ 0 w 1828800"/>
                <a:gd name="connsiteY4" fmla="*/ 914400 h 914400"/>
                <a:gd name="connsiteX5" fmla="*/ 82655 w 1828800"/>
                <a:gd name="connsiteY5" fmla="*/ 457200 h 914400"/>
                <a:gd name="connsiteX0" fmla="*/ 0 w 1828800"/>
                <a:gd name="connsiteY0" fmla="*/ 0 h 914400"/>
                <a:gd name="connsiteX1" fmla="*/ 1746145 w 1828800"/>
                <a:gd name="connsiteY1" fmla="*/ 0 h 914400"/>
                <a:gd name="connsiteX2" fmla="*/ 1828800 w 1828800"/>
                <a:gd name="connsiteY2" fmla="*/ 457200 h 914400"/>
                <a:gd name="connsiteX3" fmla="*/ 1746145 w 1828800"/>
                <a:gd name="connsiteY3" fmla="*/ 914400 h 914400"/>
                <a:gd name="connsiteX4" fmla="*/ 0 w 1828800"/>
                <a:gd name="connsiteY4" fmla="*/ 914400 h 914400"/>
                <a:gd name="connsiteX5" fmla="*/ 82655 w 1828800"/>
                <a:gd name="connsiteY5" fmla="*/ 457200 h 914400"/>
                <a:gd name="connsiteX0" fmla="*/ 0 w 1828800"/>
                <a:gd name="connsiteY0" fmla="*/ 0 h 914400"/>
                <a:gd name="connsiteX1" fmla="*/ 1746145 w 1828800"/>
                <a:gd name="connsiteY1" fmla="*/ 0 h 914400"/>
                <a:gd name="connsiteX2" fmla="*/ 1828800 w 1828800"/>
                <a:gd name="connsiteY2" fmla="*/ 457200 h 914400"/>
                <a:gd name="connsiteX3" fmla="*/ 1746145 w 1828800"/>
                <a:gd name="connsiteY3" fmla="*/ 914400 h 914400"/>
                <a:gd name="connsiteX4" fmla="*/ 0 w 1828800"/>
                <a:gd name="connsiteY4" fmla="*/ 914400 h 914400"/>
                <a:gd name="connsiteX5" fmla="*/ 82655 w 1828800"/>
                <a:gd name="connsiteY5" fmla="*/ 457200 h 914400"/>
                <a:gd name="connsiteX0" fmla="*/ 0 w 1828800"/>
                <a:gd name="connsiteY0" fmla="*/ 0 h 914400"/>
                <a:gd name="connsiteX1" fmla="*/ 1746145 w 1828800"/>
                <a:gd name="connsiteY1" fmla="*/ 0 h 914400"/>
                <a:gd name="connsiteX2" fmla="*/ 1828800 w 1828800"/>
                <a:gd name="connsiteY2" fmla="*/ 457200 h 914400"/>
                <a:gd name="connsiteX3" fmla="*/ 1746145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46145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65399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65399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65399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65399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65399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65399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63401" y="0"/>
                  </a:lnTo>
                  <a:lnTo>
                    <a:pt x="1828800" y="457200"/>
                  </a:lnTo>
                  <a:lnTo>
                    <a:pt x="1763401" y="914400"/>
                  </a:lnTo>
                  <a:lnTo>
                    <a:pt x="0" y="914400"/>
                  </a:lnTo>
                  <a:lnTo>
                    <a:pt x="65399" y="457201"/>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500" b="1" err="1">
                <a:solidFill>
                  <a:schemeClr val="tx1"/>
                </a:solidFill>
              </a:endParaRPr>
            </a:p>
          </p:txBody>
        </p:sp>
        <p:sp>
          <p:nvSpPr>
            <p:cNvPr id="34" name="TextBox 33">
              <a:extLst>
                <a:ext uri="{FF2B5EF4-FFF2-40B4-BE49-F238E27FC236}">
                  <a16:creationId xmlns:a16="http://schemas.microsoft.com/office/drawing/2014/main" id="{1756E33D-794D-4B54-9E8A-6BC57D62CB80}"/>
                </a:ext>
              </a:extLst>
            </p:cNvPr>
            <p:cNvSpPr txBox="1"/>
            <p:nvPr>
              <p:custDataLst>
                <p:tags r:id="rId12"/>
              </p:custDataLst>
            </p:nvPr>
          </p:nvSpPr>
          <p:spPr>
            <a:xfrm>
              <a:off x="4115589" y="2228410"/>
              <a:ext cx="3090363" cy="578771"/>
            </a:xfrm>
            <a:prstGeom prst="rect">
              <a:avLst/>
            </a:prstGeom>
            <a:grpFill/>
            <a:ln>
              <a:noFill/>
            </a:ln>
          </p:spPr>
          <p:txBody>
            <a:bodyPr vert="horz" lIns="0" tIns="0" rIns="0" bIns="0" rtlCol="0" anchor="ctr">
              <a:noAutofit/>
            </a:bodyPr>
            <a:lstStyle>
              <a:lvl1pPr marL="266693" lvl="0" indent="-266693" defTabSz="914378">
                <a:spcBef>
                  <a:spcPts val="400"/>
                </a:spcBef>
                <a:buFont typeface="Arial" panose="020B0604020202020204" pitchFamily="34" charset="0"/>
                <a:buChar char="•"/>
                <a:defRPr sz="1400"/>
              </a:lvl1pPr>
              <a:lvl2pPr marL="450839" lvl="1" indent="-184145" defTabSz="914378">
                <a:spcBef>
                  <a:spcPts val="0"/>
                </a:spcBef>
                <a:buFont typeface="Arial" panose="020B0604020202020204" pitchFamily="34" charset="0"/>
                <a:buChar char="•"/>
                <a:defRPr sz="1400"/>
              </a:lvl2pPr>
              <a:lvl3pPr marL="628634" lvl="2" indent="-177796" defTabSz="914378">
                <a:spcBef>
                  <a:spcPts val="0"/>
                </a:spcBef>
                <a:buFont typeface="Arial" panose="020B0604020202020204" pitchFamily="34" charset="0"/>
                <a:buChar char="•"/>
                <a:defRPr sz="1400"/>
              </a:lvl3pPr>
              <a:lvl4pPr marL="806430" lvl="3" indent="-177796" defTabSz="914378">
                <a:spcBef>
                  <a:spcPts val="0"/>
                </a:spcBef>
                <a:buFont typeface="Arial" panose="020B0604020202020204" pitchFamily="34" charset="0"/>
                <a:buChar char="•"/>
                <a:defRPr sz="1400"/>
              </a:lvl4pPr>
              <a:lvl5pPr marL="984226" lvl="4" indent="-177796" defTabSz="914378">
                <a:spcBef>
                  <a:spcPts val="0"/>
                </a:spcBef>
                <a:buFont typeface="Arial" panose="020B0604020202020204" pitchFamily="34" charset="0"/>
                <a:buChar char="•"/>
                <a:defRPr sz="1400"/>
              </a:lvl5pPr>
              <a:lvl6pPr marL="2514537" indent="-228594" defTabSz="914378">
                <a:spcBef>
                  <a:spcPct val="20000"/>
                </a:spcBef>
                <a:buFont typeface="Arial" panose="020B0604020202020204" pitchFamily="34" charset="0"/>
                <a:buChar char="•"/>
                <a:defRPr sz="2000"/>
              </a:lvl6pPr>
              <a:lvl7pPr marL="2971726" indent="-228594" defTabSz="914378">
                <a:spcBef>
                  <a:spcPct val="20000"/>
                </a:spcBef>
                <a:buFont typeface="Arial" panose="020B0604020202020204" pitchFamily="34" charset="0"/>
                <a:buChar char="•"/>
                <a:defRPr sz="2000"/>
              </a:lvl7pPr>
              <a:lvl8pPr marL="3428915" indent="-228594" defTabSz="914378">
                <a:spcBef>
                  <a:spcPct val="20000"/>
                </a:spcBef>
                <a:buFont typeface="Arial" panose="020B0604020202020204" pitchFamily="34" charset="0"/>
                <a:buChar char="•"/>
                <a:defRPr sz="2000"/>
              </a:lvl8pPr>
              <a:lvl9pPr marL="3886103" indent="-228594" defTabSz="914378">
                <a:spcBef>
                  <a:spcPct val="20000"/>
                </a:spcBef>
                <a:buFont typeface="Arial" panose="020B0604020202020204" pitchFamily="34" charset="0"/>
                <a:buChar char="•"/>
                <a:defRPr sz="2000"/>
              </a:lvl9pPr>
            </a:lstStyle>
            <a:p>
              <a:pPr marL="83344" indent="0">
                <a:buNone/>
              </a:pPr>
              <a:r>
                <a:rPr lang="en-US" sz="1500" b="1" dirty="0"/>
                <a:t>Preclinical Development</a:t>
              </a:r>
            </a:p>
          </p:txBody>
        </p:sp>
      </p:grpSp>
      <p:cxnSp>
        <p:nvCxnSpPr>
          <p:cNvPr id="106" name="Straight Connector 105">
            <a:extLst>
              <a:ext uri="{FF2B5EF4-FFF2-40B4-BE49-F238E27FC236}">
                <a16:creationId xmlns:a16="http://schemas.microsoft.com/office/drawing/2014/main" id="{D6E222DA-ABD7-4926-81D5-A4D0F64C13C5}"/>
              </a:ext>
            </a:extLst>
          </p:cNvPr>
          <p:cNvCxnSpPr>
            <a:cxnSpLocks/>
          </p:cNvCxnSpPr>
          <p:nvPr/>
        </p:nvCxnSpPr>
        <p:spPr>
          <a:xfrm>
            <a:off x="5499657" y="2559785"/>
            <a:ext cx="322829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59">
            <a:extLst>
              <a:ext uri="{FF2B5EF4-FFF2-40B4-BE49-F238E27FC236}">
                <a16:creationId xmlns:a16="http://schemas.microsoft.com/office/drawing/2014/main" id="{0F74FBDA-CB2F-44E4-8AA4-AD7B5A822DD9}"/>
              </a:ext>
            </a:extLst>
          </p:cNvPr>
          <p:cNvSpPr txBox="1">
            <a:spLocks noChangeArrowheads="1"/>
          </p:cNvSpPr>
          <p:nvPr/>
        </p:nvSpPr>
        <p:spPr bwMode="auto">
          <a:xfrm>
            <a:off x="437734" y="3697904"/>
            <a:ext cx="69135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7613">
              <a:spcBef>
                <a:spcPts val="300"/>
              </a:spcBef>
              <a:spcAft>
                <a:spcPts val="300"/>
              </a:spcAft>
              <a:buClr>
                <a:schemeClr val="tx1"/>
              </a:buClr>
              <a:buSzPct val="100000"/>
              <a:buFont typeface="Segoe UI" panose="020B0502040204020203" pitchFamily="34" charset="0"/>
              <a:buChar char="​"/>
              <a:defRPr sz="1600">
                <a:solidFill>
                  <a:schemeClr val="tx1"/>
                </a:solidFill>
                <a:latin typeface="BISans" panose="02000503040000020004" pitchFamily="2" charset="0"/>
                <a:sym typeface="+mn-lt"/>
              </a:defRPr>
            </a:lvl1pPr>
            <a:lvl2pPr marL="450850" indent="-184150" defTabSz="1217613">
              <a:spcAft>
                <a:spcPts val="300"/>
              </a:spcAft>
              <a:buSzPct val="100000"/>
              <a:buFont typeface="BISans" panose="02000503040000020004" pitchFamily="2" charset="0"/>
              <a:buChar char="•"/>
              <a:defRPr sz="1600">
                <a:solidFill>
                  <a:schemeClr val="tx1"/>
                </a:solidFill>
                <a:latin typeface="BISans" panose="02000503040000020004" pitchFamily="2" charset="0"/>
                <a:sym typeface="+mn-lt"/>
              </a:defRPr>
            </a:lvl2pPr>
            <a:lvl3pPr marL="628650" indent="-177800" defTabSz="1217613">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3pPr>
            <a:lvl4pPr marL="806450" indent="-177800" defTabSz="1217613">
              <a:spcAft>
                <a:spcPts val="300"/>
              </a:spcAft>
              <a:buSzPct val="100000"/>
              <a:buFont typeface="BISans" panose="02000503040000020004" pitchFamily="2" charset="0"/>
              <a:buChar char="•"/>
              <a:defRPr sz="1600">
                <a:solidFill>
                  <a:schemeClr val="tx1"/>
                </a:solidFill>
                <a:latin typeface="BISans" panose="02000503040000020004" pitchFamily="2" charset="0"/>
                <a:sym typeface="+mn-lt"/>
              </a:defRPr>
            </a:lvl4pPr>
            <a:lvl5pPr marL="984250" indent="-177800" defTabSz="1217613">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5pPr>
            <a:lvl6pPr marL="14414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6pPr>
            <a:lvl7pPr marL="18986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7pPr>
            <a:lvl8pPr marL="23558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8pPr>
            <a:lvl9pPr marL="28130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9pPr>
          </a:lstStyle>
          <a:p>
            <a:pPr algn="ctr">
              <a:spcBef>
                <a:spcPts val="404"/>
              </a:spcBef>
              <a:spcAft>
                <a:spcPct val="0"/>
              </a:spcAft>
              <a:buClrTx/>
              <a:buSzTx/>
              <a:buNone/>
            </a:pPr>
            <a:r>
              <a:rPr lang="en-US" altLang="de-DE" sz="1200"/>
              <a:t>Imaging of tissues</a:t>
            </a:r>
          </a:p>
        </p:txBody>
      </p:sp>
      <p:sp>
        <p:nvSpPr>
          <p:cNvPr id="67" name="TextBox 69">
            <a:extLst>
              <a:ext uri="{FF2B5EF4-FFF2-40B4-BE49-F238E27FC236}">
                <a16:creationId xmlns:a16="http://schemas.microsoft.com/office/drawing/2014/main" id="{69DBE707-C024-42BA-95FB-43E5CB82324F}"/>
              </a:ext>
            </a:extLst>
          </p:cNvPr>
          <p:cNvSpPr txBox="1">
            <a:spLocks noChangeArrowheads="1"/>
          </p:cNvSpPr>
          <p:nvPr/>
        </p:nvSpPr>
        <p:spPr bwMode="auto">
          <a:xfrm>
            <a:off x="1259500" y="3697903"/>
            <a:ext cx="76048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7613">
              <a:spcBef>
                <a:spcPts val="300"/>
              </a:spcBef>
              <a:spcAft>
                <a:spcPts val="300"/>
              </a:spcAft>
              <a:buClr>
                <a:schemeClr val="tx1"/>
              </a:buClr>
              <a:buSzPct val="100000"/>
              <a:buFont typeface="Segoe UI" panose="020B0502040204020203" pitchFamily="34" charset="0"/>
              <a:buChar char="​"/>
              <a:defRPr sz="1600">
                <a:solidFill>
                  <a:schemeClr val="tx1"/>
                </a:solidFill>
                <a:latin typeface="BISans" panose="02000503040000020004" pitchFamily="2" charset="0"/>
                <a:sym typeface="+mn-lt"/>
              </a:defRPr>
            </a:lvl1pPr>
            <a:lvl2pPr marL="450850" indent="-184150" defTabSz="1217613">
              <a:spcAft>
                <a:spcPts val="300"/>
              </a:spcAft>
              <a:buSzPct val="100000"/>
              <a:buFont typeface="BISans" panose="02000503040000020004" pitchFamily="2" charset="0"/>
              <a:buChar char="•"/>
              <a:defRPr sz="1600">
                <a:solidFill>
                  <a:schemeClr val="tx1"/>
                </a:solidFill>
                <a:latin typeface="BISans" panose="02000503040000020004" pitchFamily="2" charset="0"/>
                <a:sym typeface="+mn-lt"/>
              </a:defRPr>
            </a:lvl2pPr>
            <a:lvl3pPr marL="628650" indent="-177800" defTabSz="1217613">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3pPr>
            <a:lvl4pPr marL="806450" indent="-177800" defTabSz="1217613">
              <a:spcAft>
                <a:spcPts val="300"/>
              </a:spcAft>
              <a:buSzPct val="100000"/>
              <a:buFont typeface="BISans" panose="02000503040000020004" pitchFamily="2" charset="0"/>
              <a:buChar char="•"/>
              <a:defRPr sz="1600">
                <a:solidFill>
                  <a:schemeClr val="tx1"/>
                </a:solidFill>
                <a:latin typeface="BISans" panose="02000503040000020004" pitchFamily="2" charset="0"/>
                <a:sym typeface="+mn-lt"/>
              </a:defRPr>
            </a:lvl4pPr>
            <a:lvl5pPr marL="984250" indent="-177800" defTabSz="1217613">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5pPr>
            <a:lvl6pPr marL="14414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6pPr>
            <a:lvl7pPr marL="18986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7pPr>
            <a:lvl8pPr marL="23558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8pPr>
            <a:lvl9pPr marL="28130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9pPr>
          </a:lstStyle>
          <a:p>
            <a:pPr algn="ctr">
              <a:spcBef>
                <a:spcPts val="404"/>
              </a:spcBef>
              <a:spcAft>
                <a:spcPct val="0"/>
              </a:spcAft>
              <a:buClrTx/>
              <a:buSzTx/>
              <a:buNone/>
            </a:pPr>
            <a:r>
              <a:rPr lang="en-US" altLang="de-DE" sz="1200" dirty="0"/>
              <a:t>Molecular dynamics simulation</a:t>
            </a:r>
          </a:p>
        </p:txBody>
      </p:sp>
      <p:sp>
        <p:nvSpPr>
          <p:cNvPr id="75" name="TextBox 68">
            <a:extLst>
              <a:ext uri="{FF2B5EF4-FFF2-40B4-BE49-F238E27FC236}">
                <a16:creationId xmlns:a16="http://schemas.microsoft.com/office/drawing/2014/main" id="{64C5665A-E9B7-4832-A93D-740F2918FABE}"/>
              </a:ext>
            </a:extLst>
          </p:cNvPr>
          <p:cNvSpPr txBox="1">
            <a:spLocks noChangeArrowheads="1"/>
          </p:cNvSpPr>
          <p:nvPr/>
        </p:nvSpPr>
        <p:spPr bwMode="auto">
          <a:xfrm>
            <a:off x="2150403" y="3697903"/>
            <a:ext cx="691352"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7613">
              <a:spcBef>
                <a:spcPts val="300"/>
              </a:spcBef>
              <a:spcAft>
                <a:spcPts val="300"/>
              </a:spcAft>
              <a:buClr>
                <a:schemeClr val="tx1"/>
              </a:buClr>
              <a:buSzPct val="100000"/>
              <a:buFont typeface="Segoe UI" panose="020B0502040204020203" pitchFamily="34" charset="0"/>
              <a:buChar char="​"/>
              <a:defRPr sz="1600">
                <a:solidFill>
                  <a:schemeClr val="tx1"/>
                </a:solidFill>
                <a:latin typeface="BISans" panose="02000503040000020004" pitchFamily="2" charset="0"/>
                <a:sym typeface="+mn-lt"/>
              </a:defRPr>
            </a:lvl1pPr>
            <a:lvl2pPr marL="450850" indent="-184150" defTabSz="1217613">
              <a:spcAft>
                <a:spcPts val="300"/>
              </a:spcAft>
              <a:buSzPct val="100000"/>
              <a:buFont typeface="BISans" panose="02000503040000020004" pitchFamily="2" charset="0"/>
              <a:buChar char="•"/>
              <a:defRPr sz="1600">
                <a:solidFill>
                  <a:schemeClr val="tx1"/>
                </a:solidFill>
                <a:latin typeface="BISans" panose="02000503040000020004" pitchFamily="2" charset="0"/>
                <a:sym typeface="+mn-lt"/>
              </a:defRPr>
            </a:lvl2pPr>
            <a:lvl3pPr marL="628650" indent="-177800" defTabSz="1217613">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3pPr>
            <a:lvl4pPr marL="806450" indent="-177800" defTabSz="1217613">
              <a:spcAft>
                <a:spcPts val="300"/>
              </a:spcAft>
              <a:buSzPct val="100000"/>
              <a:buFont typeface="BISans" panose="02000503040000020004" pitchFamily="2" charset="0"/>
              <a:buChar char="•"/>
              <a:defRPr sz="1600">
                <a:solidFill>
                  <a:schemeClr val="tx1"/>
                </a:solidFill>
                <a:latin typeface="BISans" panose="02000503040000020004" pitchFamily="2" charset="0"/>
                <a:sym typeface="+mn-lt"/>
              </a:defRPr>
            </a:lvl4pPr>
            <a:lvl5pPr marL="984250" indent="-177800" defTabSz="1217613">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5pPr>
            <a:lvl6pPr marL="14414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6pPr>
            <a:lvl7pPr marL="18986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7pPr>
            <a:lvl8pPr marL="23558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8pPr>
            <a:lvl9pPr marL="28130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9pPr>
          </a:lstStyle>
          <a:p>
            <a:pPr algn="ctr">
              <a:spcBef>
                <a:spcPts val="404"/>
              </a:spcBef>
              <a:spcAft>
                <a:spcPct val="0"/>
              </a:spcAft>
              <a:buClrTx/>
              <a:buSzTx/>
              <a:buNone/>
            </a:pPr>
            <a:r>
              <a:rPr lang="en-US" altLang="de-DE" sz="1200"/>
              <a:t>Binding affinity prediction</a:t>
            </a:r>
          </a:p>
        </p:txBody>
      </p:sp>
      <p:sp>
        <p:nvSpPr>
          <p:cNvPr id="112" name="Oval 111">
            <a:extLst>
              <a:ext uri="{FF2B5EF4-FFF2-40B4-BE49-F238E27FC236}">
                <a16:creationId xmlns:a16="http://schemas.microsoft.com/office/drawing/2014/main" id="{ECC8F537-E05B-40D1-B3D1-53CEA6C784CA}"/>
              </a:ext>
            </a:extLst>
          </p:cNvPr>
          <p:cNvSpPr>
            <a:spLocks/>
          </p:cNvSpPr>
          <p:nvPr/>
        </p:nvSpPr>
        <p:spPr>
          <a:xfrm>
            <a:off x="709670" y="2486047"/>
            <a:ext cx="147479" cy="147479"/>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buClr>
                <a:srgbClr val="123563"/>
              </a:buClr>
              <a:defRPr/>
            </a:pPr>
            <a:endParaRPr lang="en-US" sz="1200" kern="0" err="1">
              <a:solidFill>
                <a:srgbClr val="123563"/>
              </a:solidFill>
              <a:latin typeface="BISans"/>
            </a:endParaRPr>
          </a:p>
        </p:txBody>
      </p:sp>
      <p:sp>
        <p:nvSpPr>
          <p:cNvPr id="113" name="Oval 112">
            <a:extLst>
              <a:ext uri="{FF2B5EF4-FFF2-40B4-BE49-F238E27FC236}">
                <a16:creationId xmlns:a16="http://schemas.microsoft.com/office/drawing/2014/main" id="{0C821631-D8DC-4E37-86C3-B9895D6AF7DC}"/>
              </a:ext>
            </a:extLst>
          </p:cNvPr>
          <p:cNvSpPr>
            <a:spLocks/>
          </p:cNvSpPr>
          <p:nvPr/>
        </p:nvSpPr>
        <p:spPr>
          <a:xfrm>
            <a:off x="1566004" y="2486047"/>
            <a:ext cx="147479" cy="147479"/>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buClr>
                <a:srgbClr val="123563"/>
              </a:buClr>
              <a:defRPr/>
            </a:pPr>
            <a:endParaRPr lang="en-US" sz="1200" kern="0" err="1">
              <a:solidFill>
                <a:srgbClr val="123563"/>
              </a:solidFill>
              <a:latin typeface="BISans"/>
            </a:endParaRPr>
          </a:p>
        </p:txBody>
      </p:sp>
      <p:sp>
        <p:nvSpPr>
          <p:cNvPr id="114" name="Oval 113">
            <a:extLst>
              <a:ext uri="{FF2B5EF4-FFF2-40B4-BE49-F238E27FC236}">
                <a16:creationId xmlns:a16="http://schemas.microsoft.com/office/drawing/2014/main" id="{E1ED979D-528B-4E07-836A-456643B97FD0}"/>
              </a:ext>
            </a:extLst>
          </p:cNvPr>
          <p:cNvSpPr>
            <a:spLocks/>
          </p:cNvSpPr>
          <p:nvPr/>
        </p:nvSpPr>
        <p:spPr>
          <a:xfrm>
            <a:off x="2422339" y="2486047"/>
            <a:ext cx="147479" cy="147479"/>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buClr>
                <a:srgbClr val="123563"/>
              </a:buClr>
              <a:defRPr/>
            </a:pPr>
            <a:endParaRPr lang="en-US" sz="1200" kern="0" err="1">
              <a:solidFill>
                <a:srgbClr val="123563"/>
              </a:solidFill>
              <a:latin typeface="BISans"/>
            </a:endParaRPr>
          </a:p>
        </p:txBody>
      </p:sp>
      <p:sp>
        <p:nvSpPr>
          <p:cNvPr id="117" name="Oval 116">
            <a:extLst>
              <a:ext uri="{FF2B5EF4-FFF2-40B4-BE49-F238E27FC236}">
                <a16:creationId xmlns:a16="http://schemas.microsoft.com/office/drawing/2014/main" id="{55148728-6440-49E1-A833-F3191FC7C8F3}"/>
              </a:ext>
            </a:extLst>
          </p:cNvPr>
          <p:cNvSpPr>
            <a:spLocks/>
          </p:cNvSpPr>
          <p:nvPr/>
        </p:nvSpPr>
        <p:spPr>
          <a:xfrm>
            <a:off x="5976883" y="2486047"/>
            <a:ext cx="147479" cy="147479"/>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buClr>
                <a:srgbClr val="123563"/>
              </a:buClr>
              <a:defRPr/>
            </a:pPr>
            <a:endParaRPr lang="en-US" sz="1050" kern="0" err="1">
              <a:solidFill>
                <a:srgbClr val="123563"/>
              </a:solidFill>
              <a:latin typeface="BISans"/>
            </a:endParaRPr>
          </a:p>
        </p:txBody>
      </p:sp>
      <p:sp>
        <p:nvSpPr>
          <p:cNvPr id="128" name="Textfeld 10">
            <a:extLst>
              <a:ext uri="{FF2B5EF4-FFF2-40B4-BE49-F238E27FC236}">
                <a16:creationId xmlns:a16="http://schemas.microsoft.com/office/drawing/2014/main" id="{2EB8953F-BC4A-4D9F-AFA2-7CF19747AF06}"/>
              </a:ext>
            </a:extLst>
          </p:cNvPr>
          <p:cNvSpPr txBox="1">
            <a:spLocks/>
          </p:cNvSpPr>
          <p:nvPr/>
        </p:nvSpPr>
        <p:spPr>
          <a:xfrm>
            <a:off x="5670379" y="3697904"/>
            <a:ext cx="760487" cy="369332"/>
          </a:xfrm>
          <a:prstGeom prst="rect">
            <a:avLst/>
          </a:prstGeom>
          <a:noFill/>
        </p:spPr>
        <p:txBody>
          <a:bodyPr wrap="square" lIns="0" tIns="0" rIns="0" bIns="0" rtlCol="0">
            <a:spAutoFit/>
          </a:bodyPr>
          <a:lstStyle/>
          <a:p>
            <a:pPr algn="ctr">
              <a:spcBef>
                <a:spcPts val="404"/>
              </a:spcBef>
              <a:spcAft>
                <a:spcPct val="0"/>
              </a:spcAft>
            </a:pPr>
            <a:r>
              <a:rPr lang="en-US" altLang="de-DE" sz="1200" dirty="0"/>
              <a:t>Side-effect prediction</a:t>
            </a:r>
          </a:p>
        </p:txBody>
      </p:sp>
      <p:sp>
        <p:nvSpPr>
          <p:cNvPr id="86" name="TextBox 70">
            <a:extLst>
              <a:ext uri="{FF2B5EF4-FFF2-40B4-BE49-F238E27FC236}">
                <a16:creationId xmlns:a16="http://schemas.microsoft.com/office/drawing/2014/main" id="{5E7A44B4-9C1B-4B28-8D54-3226CE35E3BB}"/>
              </a:ext>
            </a:extLst>
          </p:cNvPr>
          <p:cNvSpPr txBox="1">
            <a:spLocks noChangeArrowheads="1"/>
          </p:cNvSpPr>
          <p:nvPr/>
        </p:nvSpPr>
        <p:spPr bwMode="auto">
          <a:xfrm>
            <a:off x="6636712" y="3697903"/>
            <a:ext cx="209123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7613">
              <a:spcBef>
                <a:spcPts val="300"/>
              </a:spcBef>
              <a:spcAft>
                <a:spcPts val="300"/>
              </a:spcAft>
              <a:buClr>
                <a:schemeClr val="tx1"/>
              </a:buClr>
              <a:buSzPct val="100000"/>
              <a:buFont typeface="Segoe UI" panose="020B0502040204020203" pitchFamily="34" charset="0"/>
              <a:buChar char="​"/>
              <a:defRPr sz="1600">
                <a:solidFill>
                  <a:schemeClr val="tx1"/>
                </a:solidFill>
                <a:latin typeface="BISans" panose="02000503040000020004" pitchFamily="2" charset="0"/>
                <a:sym typeface="+mn-lt"/>
              </a:defRPr>
            </a:lvl1pPr>
            <a:lvl2pPr marL="450850" indent="-184150" defTabSz="1217613">
              <a:spcAft>
                <a:spcPts val="300"/>
              </a:spcAft>
              <a:buSzPct val="100000"/>
              <a:buFont typeface="BISans" panose="02000503040000020004" pitchFamily="2" charset="0"/>
              <a:buChar char="•"/>
              <a:defRPr sz="1600">
                <a:solidFill>
                  <a:schemeClr val="tx1"/>
                </a:solidFill>
                <a:latin typeface="BISans" panose="02000503040000020004" pitchFamily="2" charset="0"/>
                <a:sym typeface="+mn-lt"/>
              </a:defRPr>
            </a:lvl2pPr>
            <a:lvl3pPr marL="628650" indent="-177800" defTabSz="1217613">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3pPr>
            <a:lvl4pPr marL="806450" indent="-177800" defTabSz="1217613">
              <a:spcAft>
                <a:spcPts val="300"/>
              </a:spcAft>
              <a:buSzPct val="100000"/>
              <a:buFont typeface="BISans" panose="02000503040000020004" pitchFamily="2" charset="0"/>
              <a:buChar char="•"/>
              <a:defRPr sz="1600">
                <a:solidFill>
                  <a:schemeClr val="tx1"/>
                </a:solidFill>
                <a:latin typeface="BISans" panose="02000503040000020004" pitchFamily="2" charset="0"/>
                <a:sym typeface="+mn-lt"/>
              </a:defRPr>
            </a:lvl4pPr>
            <a:lvl5pPr marL="984250" indent="-177800" defTabSz="1217613">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5pPr>
            <a:lvl6pPr marL="14414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6pPr>
            <a:lvl7pPr marL="18986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7pPr>
            <a:lvl8pPr marL="23558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8pPr>
            <a:lvl9pPr marL="28130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9pPr>
          </a:lstStyle>
          <a:p>
            <a:pPr algn="ctr">
              <a:spcBef>
                <a:spcPts val="404"/>
              </a:spcBef>
              <a:spcAft>
                <a:spcPct val="0"/>
              </a:spcAft>
              <a:buClrTx/>
              <a:buSzTx/>
              <a:buNone/>
            </a:pPr>
            <a:r>
              <a:rPr lang="en-US" altLang="de-DE" sz="1200" dirty="0"/>
              <a:t>Potential further use cases to be identified, e.g.: trial site selection, patient selection</a:t>
            </a:r>
          </a:p>
        </p:txBody>
      </p:sp>
      <p:sp>
        <p:nvSpPr>
          <p:cNvPr id="122" name="Oval 121">
            <a:extLst>
              <a:ext uri="{FF2B5EF4-FFF2-40B4-BE49-F238E27FC236}">
                <a16:creationId xmlns:a16="http://schemas.microsoft.com/office/drawing/2014/main" id="{FEBF51C7-BF2D-4E98-BD91-ACB5B4964497}"/>
              </a:ext>
            </a:extLst>
          </p:cNvPr>
          <p:cNvSpPr>
            <a:spLocks/>
          </p:cNvSpPr>
          <p:nvPr/>
        </p:nvSpPr>
        <p:spPr>
          <a:xfrm>
            <a:off x="7608592" y="2486047"/>
            <a:ext cx="147479" cy="147479"/>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buClr>
                <a:srgbClr val="123563"/>
              </a:buClr>
              <a:defRPr/>
            </a:pPr>
            <a:endParaRPr lang="en-US" sz="1200" kern="0" err="1">
              <a:solidFill>
                <a:srgbClr val="123563"/>
              </a:solidFill>
              <a:latin typeface="BISans"/>
            </a:endParaRPr>
          </a:p>
        </p:txBody>
      </p:sp>
      <p:cxnSp>
        <p:nvCxnSpPr>
          <p:cNvPr id="85" name="Straight Connector 84">
            <a:extLst>
              <a:ext uri="{FF2B5EF4-FFF2-40B4-BE49-F238E27FC236}">
                <a16:creationId xmlns:a16="http://schemas.microsoft.com/office/drawing/2014/main" id="{9B6C88B9-DDBF-4881-AB06-9ACEE0BC8CD6}"/>
              </a:ext>
            </a:extLst>
          </p:cNvPr>
          <p:cNvCxnSpPr>
            <a:cxnSpLocks/>
          </p:cNvCxnSpPr>
          <p:nvPr/>
        </p:nvCxnSpPr>
        <p:spPr>
          <a:xfrm flipV="1">
            <a:off x="7682330" y="2607082"/>
            <a:ext cx="0" cy="936025"/>
          </a:xfrm>
          <a:prstGeom prst="line">
            <a:avLst/>
          </a:prstGeom>
          <a:ln w="6350" cap="flat">
            <a:solidFill>
              <a:schemeClr val="accent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AE3A933-DC9E-49DA-AD23-A46ACB933E2D}"/>
              </a:ext>
            </a:extLst>
          </p:cNvPr>
          <p:cNvCxnSpPr>
            <a:cxnSpLocks/>
          </p:cNvCxnSpPr>
          <p:nvPr/>
        </p:nvCxnSpPr>
        <p:spPr>
          <a:xfrm flipV="1">
            <a:off x="783409" y="2607082"/>
            <a:ext cx="0" cy="350287"/>
          </a:xfrm>
          <a:prstGeom prst="line">
            <a:avLst/>
          </a:prstGeom>
          <a:ln w="6350" cap="flat">
            <a:solidFill>
              <a:schemeClr val="accent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6A91DB6-A488-47BB-A79A-7A61FD7E4B5A}"/>
              </a:ext>
            </a:extLst>
          </p:cNvPr>
          <p:cNvCxnSpPr>
            <a:cxnSpLocks/>
          </p:cNvCxnSpPr>
          <p:nvPr/>
        </p:nvCxnSpPr>
        <p:spPr>
          <a:xfrm flipV="1">
            <a:off x="2496078" y="2607082"/>
            <a:ext cx="0" cy="350287"/>
          </a:xfrm>
          <a:prstGeom prst="line">
            <a:avLst/>
          </a:prstGeom>
          <a:ln w="6350" cap="flat">
            <a:solidFill>
              <a:schemeClr val="accent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42F9229-B2F9-4EDC-9E01-91C9100E48B1}"/>
              </a:ext>
            </a:extLst>
          </p:cNvPr>
          <p:cNvCxnSpPr>
            <a:cxnSpLocks/>
          </p:cNvCxnSpPr>
          <p:nvPr/>
        </p:nvCxnSpPr>
        <p:spPr>
          <a:xfrm flipV="1">
            <a:off x="1639744" y="2607082"/>
            <a:ext cx="0" cy="350287"/>
          </a:xfrm>
          <a:prstGeom prst="line">
            <a:avLst/>
          </a:prstGeom>
          <a:ln w="6350" cap="flat">
            <a:solidFill>
              <a:schemeClr val="accent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9988908-EA40-4828-BD86-7E0CD3B17C63}"/>
              </a:ext>
            </a:extLst>
          </p:cNvPr>
          <p:cNvCxnSpPr>
            <a:cxnSpLocks/>
          </p:cNvCxnSpPr>
          <p:nvPr/>
        </p:nvCxnSpPr>
        <p:spPr>
          <a:xfrm flipV="1">
            <a:off x="6050621" y="2607082"/>
            <a:ext cx="0" cy="350286"/>
          </a:xfrm>
          <a:prstGeom prst="line">
            <a:avLst/>
          </a:prstGeom>
          <a:ln w="6350" cap="flat">
            <a:solidFill>
              <a:schemeClr val="accent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743AB377-774E-4480-893D-0AC2278B25BF}"/>
              </a:ext>
            </a:extLst>
          </p:cNvPr>
          <p:cNvCxnSpPr>
            <a:cxnSpLocks/>
          </p:cNvCxnSpPr>
          <p:nvPr/>
        </p:nvCxnSpPr>
        <p:spPr>
          <a:xfrm flipV="1">
            <a:off x="4211142" y="2607082"/>
            <a:ext cx="0" cy="350286"/>
          </a:xfrm>
          <a:prstGeom prst="line">
            <a:avLst/>
          </a:prstGeom>
          <a:ln w="6350" cap="flat">
            <a:solidFill>
              <a:schemeClr val="accent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16" name="Oval 115">
            <a:extLst>
              <a:ext uri="{FF2B5EF4-FFF2-40B4-BE49-F238E27FC236}">
                <a16:creationId xmlns:a16="http://schemas.microsoft.com/office/drawing/2014/main" id="{2A1E214F-C5EE-4A1D-A70F-FB7B2CC27D7E}"/>
              </a:ext>
            </a:extLst>
          </p:cNvPr>
          <p:cNvSpPr>
            <a:spLocks/>
          </p:cNvSpPr>
          <p:nvPr/>
        </p:nvSpPr>
        <p:spPr>
          <a:xfrm>
            <a:off x="4137403" y="2486047"/>
            <a:ext cx="147479" cy="147479"/>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buClr>
                <a:srgbClr val="123563"/>
              </a:buClr>
              <a:defRPr/>
            </a:pPr>
            <a:endParaRPr lang="en-US" sz="1050" kern="0" err="1">
              <a:solidFill>
                <a:srgbClr val="123563"/>
              </a:solidFill>
              <a:latin typeface="BISans"/>
            </a:endParaRPr>
          </a:p>
        </p:txBody>
      </p:sp>
      <p:sp>
        <p:nvSpPr>
          <p:cNvPr id="129" name="TextBox 70">
            <a:extLst>
              <a:ext uri="{FF2B5EF4-FFF2-40B4-BE49-F238E27FC236}">
                <a16:creationId xmlns:a16="http://schemas.microsoft.com/office/drawing/2014/main" id="{6695AF69-6821-40A7-8AB0-842FE5DBA475}"/>
              </a:ext>
            </a:extLst>
          </p:cNvPr>
          <p:cNvSpPr txBox="1">
            <a:spLocks noChangeArrowheads="1"/>
          </p:cNvSpPr>
          <p:nvPr/>
        </p:nvSpPr>
        <p:spPr bwMode="auto">
          <a:xfrm>
            <a:off x="3865466" y="3697903"/>
            <a:ext cx="691352"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7613">
              <a:spcBef>
                <a:spcPts val="300"/>
              </a:spcBef>
              <a:spcAft>
                <a:spcPts val="300"/>
              </a:spcAft>
              <a:buClr>
                <a:schemeClr val="tx1"/>
              </a:buClr>
              <a:buSzPct val="100000"/>
              <a:buFont typeface="Segoe UI" panose="020B0502040204020203" pitchFamily="34" charset="0"/>
              <a:buChar char="​"/>
              <a:defRPr sz="1600">
                <a:solidFill>
                  <a:schemeClr val="tx1"/>
                </a:solidFill>
                <a:latin typeface="BISans" panose="02000503040000020004" pitchFamily="2" charset="0"/>
                <a:sym typeface="+mn-lt"/>
              </a:defRPr>
            </a:lvl1pPr>
            <a:lvl2pPr marL="450850" indent="-184150" defTabSz="1217613">
              <a:spcAft>
                <a:spcPts val="300"/>
              </a:spcAft>
              <a:buSzPct val="100000"/>
              <a:buFont typeface="BISans" panose="02000503040000020004" pitchFamily="2" charset="0"/>
              <a:buChar char="•"/>
              <a:defRPr sz="1600">
                <a:solidFill>
                  <a:schemeClr val="tx1"/>
                </a:solidFill>
                <a:latin typeface="BISans" panose="02000503040000020004" pitchFamily="2" charset="0"/>
                <a:sym typeface="+mn-lt"/>
              </a:defRPr>
            </a:lvl2pPr>
            <a:lvl3pPr marL="628650" indent="-177800" defTabSz="1217613">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3pPr>
            <a:lvl4pPr marL="806450" indent="-177800" defTabSz="1217613">
              <a:spcAft>
                <a:spcPts val="300"/>
              </a:spcAft>
              <a:buSzPct val="100000"/>
              <a:buFont typeface="BISans" panose="02000503040000020004" pitchFamily="2" charset="0"/>
              <a:buChar char="•"/>
              <a:defRPr sz="1600">
                <a:solidFill>
                  <a:schemeClr val="tx1"/>
                </a:solidFill>
                <a:latin typeface="BISans" panose="02000503040000020004" pitchFamily="2" charset="0"/>
                <a:sym typeface="+mn-lt"/>
              </a:defRPr>
            </a:lvl4pPr>
            <a:lvl5pPr marL="984250" indent="-177800" defTabSz="1217613">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5pPr>
            <a:lvl6pPr marL="14414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6pPr>
            <a:lvl7pPr marL="18986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7pPr>
            <a:lvl8pPr marL="23558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8pPr>
            <a:lvl9pPr marL="28130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9pPr>
          </a:lstStyle>
          <a:p>
            <a:pPr algn="ctr">
              <a:spcBef>
                <a:spcPts val="404"/>
              </a:spcBef>
              <a:spcAft>
                <a:spcPct val="0"/>
              </a:spcAft>
              <a:buClrTx/>
              <a:buSzTx/>
              <a:buNone/>
            </a:pPr>
            <a:r>
              <a:rPr lang="en-US" altLang="de-DE" sz="1200" dirty="0"/>
              <a:t>ADME -properties prediction</a:t>
            </a:r>
          </a:p>
        </p:txBody>
      </p:sp>
      <p:grpSp>
        <p:nvGrpSpPr>
          <p:cNvPr id="41" name="Group 40">
            <a:extLst>
              <a:ext uri="{FF2B5EF4-FFF2-40B4-BE49-F238E27FC236}">
                <a16:creationId xmlns:a16="http://schemas.microsoft.com/office/drawing/2014/main" id="{3F85720B-6AEA-40AB-9AB3-91C929BC1D82}"/>
              </a:ext>
            </a:extLst>
          </p:cNvPr>
          <p:cNvGrpSpPr/>
          <p:nvPr>
            <p:custDataLst>
              <p:tags r:id="rId6"/>
            </p:custDataLst>
          </p:nvPr>
        </p:nvGrpSpPr>
        <p:grpSpPr>
          <a:xfrm>
            <a:off x="5499657" y="1746660"/>
            <a:ext cx="2537345" cy="504091"/>
            <a:chOff x="7332876" y="2181735"/>
            <a:chExt cx="3383126" cy="672121"/>
          </a:xfrm>
          <a:solidFill>
            <a:schemeClr val="accent2">
              <a:lumMod val="40000"/>
              <a:lumOff val="60000"/>
            </a:schemeClr>
          </a:solidFill>
        </p:grpSpPr>
        <p:sp>
          <p:nvSpPr>
            <p:cNvPr id="36" name="Freeform: Shape 35">
              <a:extLst>
                <a:ext uri="{FF2B5EF4-FFF2-40B4-BE49-F238E27FC236}">
                  <a16:creationId xmlns:a16="http://schemas.microsoft.com/office/drawing/2014/main" id="{0BD544A4-4746-43C1-8903-DF74FCE32272}"/>
                </a:ext>
              </a:extLst>
            </p:cNvPr>
            <p:cNvSpPr/>
            <p:nvPr>
              <p:custDataLst>
                <p:tags r:id="rId9"/>
              </p:custDataLst>
            </p:nvPr>
          </p:nvSpPr>
          <p:spPr>
            <a:xfrm>
              <a:off x="7332876" y="2181735"/>
              <a:ext cx="3383126" cy="67212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17649 w 1828800"/>
                <a:gd name="connsiteY5" fmla="*/ 457200 h 914400"/>
                <a:gd name="connsiteX0" fmla="*/ 0 w 1828800"/>
                <a:gd name="connsiteY0" fmla="*/ 0 h 914400"/>
                <a:gd name="connsiteX1" fmla="*/ 171115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17649 w 1828800"/>
                <a:gd name="connsiteY5" fmla="*/ 457200 h 914400"/>
                <a:gd name="connsiteX0" fmla="*/ 0 w 1828800"/>
                <a:gd name="connsiteY0" fmla="*/ 0 h 914400"/>
                <a:gd name="connsiteX1" fmla="*/ 1711151 w 1828800"/>
                <a:gd name="connsiteY1" fmla="*/ 0 h 914400"/>
                <a:gd name="connsiteX2" fmla="*/ 1828800 w 1828800"/>
                <a:gd name="connsiteY2" fmla="*/ 457200 h 914400"/>
                <a:gd name="connsiteX3" fmla="*/ 1711151 w 1828800"/>
                <a:gd name="connsiteY3" fmla="*/ 914400 h 914400"/>
                <a:gd name="connsiteX4" fmla="*/ 0 w 1828800"/>
                <a:gd name="connsiteY4" fmla="*/ 914400 h 914400"/>
                <a:gd name="connsiteX5" fmla="*/ 117649 w 1828800"/>
                <a:gd name="connsiteY5" fmla="*/ 457200 h 914400"/>
                <a:gd name="connsiteX0" fmla="*/ 0 w 1828800"/>
                <a:gd name="connsiteY0" fmla="*/ 0 h 914400"/>
                <a:gd name="connsiteX1" fmla="*/ 1711151 w 1828800"/>
                <a:gd name="connsiteY1" fmla="*/ 0 h 914400"/>
                <a:gd name="connsiteX2" fmla="*/ 1828800 w 1828800"/>
                <a:gd name="connsiteY2" fmla="*/ 457200 h 914400"/>
                <a:gd name="connsiteX3" fmla="*/ 1711151 w 1828800"/>
                <a:gd name="connsiteY3" fmla="*/ 914400 h 914400"/>
                <a:gd name="connsiteX4" fmla="*/ 0 w 1828800"/>
                <a:gd name="connsiteY4" fmla="*/ 914400 h 914400"/>
                <a:gd name="connsiteX5" fmla="*/ 142829 w 1828800"/>
                <a:gd name="connsiteY5" fmla="*/ 457200 h 914400"/>
                <a:gd name="connsiteX0" fmla="*/ 0 w 1828800"/>
                <a:gd name="connsiteY0" fmla="*/ 0 h 914400"/>
                <a:gd name="connsiteX1" fmla="*/ 1685970 w 1828800"/>
                <a:gd name="connsiteY1" fmla="*/ 0 h 914400"/>
                <a:gd name="connsiteX2" fmla="*/ 1828800 w 1828800"/>
                <a:gd name="connsiteY2" fmla="*/ 457200 h 914400"/>
                <a:gd name="connsiteX3" fmla="*/ 1711151 w 1828800"/>
                <a:gd name="connsiteY3" fmla="*/ 914400 h 914400"/>
                <a:gd name="connsiteX4" fmla="*/ 0 w 1828800"/>
                <a:gd name="connsiteY4" fmla="*/ 914400 h 914400"/>
                <a:gd name="connsiteX5" fmla="*/ 142829 w 1828800"/>
                <a:gd name="connsiteY5" fmla="*/ 457200 h 914400"/>
                <a:gd name="connsiteX0" fmla="*/ 0 w 1828800"/>
                <a:gd name="connsiteY0" fmla="*/ 0 h 914400"/>
                <a:gd name="connsiteX1" fmla="*/ 1685970 w 1828800"/>
                <a:gd name="connsiteY1" fmla="*/ 0 h 914400"/>
                <a:gd name="connsiteX2" fmla="*/ 1828800 w 1828800"/>
                <a:gd name="connsiteY2" fmla="*/ 457200 h 914400"/>
                <a:gd name="connsiteX3" fmla="*/ 1685970 w 1828800"/>
                <a:gd name="connsiteY3" fmla="*/ 914400 h 914400"/>
                <a:gd name="connsiteX4" fmla="*/ 0 w 1828800"/>
                <a:gd name="connsiteY4" fmla="*/ 914400 h 914400"/>
                <a:gd name="connsiteX5" fmla="*/ 142829 w 1828800"/>
                <a:gd name="connsiteY5" fmla="*/ 457200 h 914400"/>
                <a:gd name="connsiteX0" fmla="*/ 0 w 1828800"/>
                <a:gd name="connsiteY0" fmla="*/ 0 h 914400"/>
                <a:gd name="connsiteX1" fmla="*/ 1685970 w 1828800"/>
                <a:gd name="connsiteY1" fmla="*/ 0 h 914400"/>
                <a:gd name="connsiteX2" fmla="*/ 1828800 w 1828800"/>
                <a:gd name="connsiteY2" fmla="*/ 457200 h 914400"/>
                <a:gd name="connsiteX3" fmla="*/ 168597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970 w 1828800"/>
                <a:gd name="connsiteY1" fmla="*/ 0 h 914400"/>
                <a:gd name="connsiteX2" fmla="*/ 1828800 w 1828800"/>
                <a:gd name="connsiteY2" fmla="*/ 457200 h 914400"/>
                <a:gd name="connsiteX3" fmla="*/ 168597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970 w 1828800"/>
                <a:gd name="connsiteY1" fmla="*/ 0 h 914400"/>
                <a:gd name="connsiteX2" fmla="*/ 1828800 w 1828800"/>
                <a:gd name="connsiteY2" fmla="*/ 457200 h 914400"/>
                <a:gd name="connsiteX3" fmla="*/ 168597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5970 w 1828800"/>
                <a:gd name="connsiteY1" fmla="*/ 0 h 914400"/>
                <a:gd name="connsiteX2" fmla="*/ 1828800 w 1828800"/>
                <a:gd name="connsiteY2" fmla="*/ 457200 h 914400"/>
                <a:gd name="connsiteX3" fmla="*/ 1685970 w 1828800"/>
                <a:gd name="connsiteY3" fmla="*/ 914400 h 914400"/>
                <a:gd name="connsiteX4" fmla="*/ 0 w 1828800"/>
                <a:gd name="connsiteY4" fmla="*/ 914400 h 914400"/>
                <a:gd name="connsiteX5" fmla="*/ 142829 w 1828800"/>
                <a:gd name="connsiteY5" fmla="*/ 457200 h 914400"/>
                <a:gd name="connsiteX0" fmla="*/ 0 w 1828800"/>
                <a:gd name="connsiteY0" fmla="*/ 0 h 914400"/>
                <a:gd name="connsiteX1" fmla="*/ 1685970 w 1828800"/>
                <a:gd name="connsiteY1" fmla="*/ 0 h 914400"/>
                <a:gd name="connsiteX2" fmla="*/ 1828800 w 1828800"/>
                <a:gd name="connsiteY2" fmla="*/ 457200 h 914400"/>
                <a:gd name="connsiteX3" fmla="*/ 1685970 w 1828800"/>
                <a:gd name="connsiteY3" fmla="*/ 914400 h 914400"/>
                <a:gd name="connsiteX4" fmla="*/ 0 w 1828800"/>
                <a:gd name="connsiteY4" fmla="*/ 914400 h 914400"/>
                <a:gd name="connsiteX5" fmla="*/ 142829 w 1828800"/>
                <a:gd name="connsiteY5" fmla="*/ 457200 h 914400"/>
                <a:gd name="connsiteX0" fmla="*/ 0 w 1828800"/>
                <a:gd name="connsiteY0" fmla="*/ 0 h 914400"/>
                <a:gd name="connsiteX1" fmla="*/ 1685970 w 1828800"/>
                <a:gd name="connsiteY1" fmla="*/ 0 h 914400"/>
                <a:gd name="connsiteX2" fmla="*/ 1828800 w 1828800"/>
                <a:gd name="connsiteY2" fmla="*/ 457200 h 914400"/>
                <a:gd name="connsiteX3" fmla="*/ 1685970 w 1828800"/>
                <a:gd name="connsiteY3" fmla="*/ 914400 h 914400"/>
                <a:gd name="connsiteX4" fmla="*/ 0 w 1828800"/>
                <a:gd name="connsiteY4" fmla="*/ 914400 h 914400"/>
                <a:gd name="connsiteX5" fmla="*/ 142829 w 1828800"/>
                <a:gd name="connsiteY5" fmla="*/ 457200 h 914400"/>
                <a:gd name="connsiteX0" fmla="*/ 0 w 1828800"/>
                <a:gd name="connsiteY0" fmla="*/ 0 h 914400"/>
                <a:gd name="connsiteX1" fmla="*/ 1685970 w 1828800"/>
                <a:gd name="connsiteY1" fmla="*/ 0 h 914400"/>
                <a:gd name="connsiteX2" fmla="*/ 1828800 w 1828800"/>
                <a:gd name="connsiteY2" fmla="*/ 457200 h 914400"/>
                <a:gd name="connsiteX3" fmla="*/ 1685970 w 1828800"/>
                <a:gd name="connsiteY3" fmla="*/ 914400 h 914400"/>
                <a:gd name="connsiteX4" fmla="*/ 0 w 1828800"/>
                <a:gd name="connsiteY4" fmla="*/ 914400 h 914400"/>
                <a:gd name="connsiteX5" fmla="*/ 96647 w 1828800"/>
                <a:gd name="connsiteY5" fmla="*/ 457200 h 914400"/>
                <a:gd name="connsiteX0" fmla="*/ 0 w 1828800"/>
                <a:gd name="connsiteY0" fmla="*/ 0 h 914400"/>
                <a:gd name="connsiteX1" fmla="*/ 1732153 w 1828800"/>
                <a:gd name="connsiteY1" fmla="*/ 0 h 914400"/>
                <a:gd name="connsiteX2" fmla="*/ 1828800 w 1828800"/>
                <a:gd name="connsiteY2" fmla="*/ 457200 h 914400"/>
                <a:gd name="connsiteX3" fmla="*/ 1685970 w 1828800"/>
                <a:gd name="connsiteY3" fmla="*/ 914400 h 914400"/>
                <a:gd name="connsiteX4" fmla="*/ 0 w 1828800"/>
                <a:gd name="connsiteY4" fmla="*/ 914400 h 914400"/>
                <a:gd name="connsiteX5" fmla="*/ 96647 w 1828800"/>
                <a:gd name="connsiteY5" fmla="*/ 457200 h 914400"/>
                <a:gd name="connsiteX0" fmla="*/ 0 w 1828800"/>
                <a:gd name="connsiteY0" fmla="*/ 0 h 914400"/>
                <a:gd name="connsiteX1" fmla="*/ 1732153 w 1828800"/>
                <a:gd name="connsiteY1" fmla="*/ 0 h 914400"/>
                <a:gd name="connsiteX2" fmla="*/ 1828800 w 1828800"/>
                <a:gd name="connsiteY2" fmla="*/ 457200 h 914400"/>
                <a:gd name="connsiteX3" fmla="*/ 1732153 w 1828800"/>
                <a:gd name="connsiteY3" fmla="*/ 914400 h 914400"/>
                <a:gd name="connsiteX4" fmla="*/ 0 w 1828800"/>
                <a:gd name="connsiteY4" fmla="*/ 914400 h 914400"/>
                <a:gd name="connsiteX5" fmla="*/ 96647 w 1828800"/>
                <a:gd name="connsiteY5" fmla="*/ 457200 h 914400"/>
                <a:gd name="connsiteX0" fmla="*/ 0 w 1828800"/>
                <a:gd name="connsiteY0" fmla="*/ 0 h 914400"/>
                <a:gd name="connsiteX1" fmla="*/ 1732153 w 1828800"/>
                <a:gd name="connsiteY1" fmla="*/ 0 h 914400"/>
                <a:gd name="connsiteX2" fmla="*/ 1828800 w 1828800"/>
                <a:gd name="connsiteY2" fmla="*/ 457200 h 914400"/>
                <a:gd name="connsiteX3" fmla="*/ 173215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2153 w 1828800"/>
                <a:gd name="connsiteY1" fmla="*/ 0 h 914400"/>
                <a:gd name="connsiteX2" fmla="*/ 1828800 w 1828800"/>
                <a:gd name="connsiteY2" fmla="*/ 457200 h 914400"/>
                <a:gd name="connsiteX3" fmla="*/ 173215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2153 w 1828800"/>
                <a:gd name="connsiteY1" fmla="*/ 0 h 914400"/>
                <a:gd name="connsiteX2" fmla="*/ 1828800 w 1828800"/>
                <a:gd name="connsiteY2" fmla="*/ 457200 h 914400"/>
                <a:gd name="connsiteX3" fmla="*/ 173215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2153 w 1828800"/>
                <a:gd name="connsiteY1" fmla="*/ 0 h 914400"/>
                <a:gd name="connsiteX2" fmla="*/ 1828800 w 1828800"/>
                <a:gd name="connsiteY2" fmla="*/ 457200 h 914400"/>
                <a:gd name="connsiteX3" fmla="*/ 1732153 w 1828800"/>
                <a:gd name="connsiteY3" fmla="*/ 914400 h 914400"/>
                <a:gd name="connsiteX4" fmla="*/ 0 w 1828800"/>
                <a:gd name="connsiteY4" fmla="*/ 914400 h 914400"/>
                <a:gd name="connsiteX5" fmla="*/ 96647 w 1828800"/>
                <a:gd name="connsiteY5" fmla="*/ 457200 h 914400"/>
                <a:gd name="connsiteX0" fmla="*/ 0 w 1828800"/>
                <a:gd name="connsiteY0" fmla="*/ 0 h 914400"/>
                <a:gd name="connsiteX1" fmla="*/ 1732153 w 1828800"/>
                <a:gd name="connsiteY1" fmla="*/ 0 h 914400"/>
                <a:gd name="connsiteX2" fmla="*/ 1828800 w 1828800"/>
                <a:gd name="connsiteY2" fmla="*/ 457200 h 914400"/>
                <a:gd name="connsiteX3" fmla="*/ 1732153 w 1828800"/>
                <a:gd name="connsiteY3" fmla="*/ 914400 h 914400"/>
                <a:gd name="connsiteX4" fmla="*/ 0 w 1828800"/>
                <a:gd name="connsiteY4" fmla="*/ 914400 h 914400"/>
                <a:gd name="connsiteX5" fmla="*/ 96647 w 1828800"/>
                <a:gd name="connsiteY5" fmla="*/ 457200 h 914400"/>
                <a:gd name="connsiteX0" fmla="*/ 0 w 1828800"/>
                <a:gd name="connsiteY0" fmla="*/ 0 h 914400"/>
                <a:gd name="connsiteX1" fmla="*/ 1732153 w 1828800"/>
                <a:gd name="connsiteY1" fmla="*/ 0 h 914400"/>
                <a:gd name="connsiteX2" fmla="*/ 1828800 w 1828800"/>
                <a:gd name="connsiteY2" fmla="*/ 457200 h 914400"/>
                <a:gd name="connsiteX3" fmla="*/ 1732153 w 1828800"/>
                <a:gd name="connsiteY3" fmla="*/ 914400 h 914400"/>
                <a:gd name="connsiteX4" fmla="*/ 0 w 1828800"/>
                <a:gd name="connsiteY4" fmla="*/ 914400 h 914400"/>
                <a:gd name="connsiteX5" fmla="*/ 96647 w 1828800"/>
                <a:gd name="connsiteY5" fmla="*/ 457200 h 914400"/>
                <a:gd name="connsiteX0" fmla="*/ 0 w 1828800"/>
                <a:gd name="connsiteY0" fmla="*/ 0 h 914400"/>
                <a:gd name="connsiteX1" fmla="*/ 1732153 w 1828800"/>
                <a:gd name="connsiteY1" fmla="*/ 0 h 914400"/>
                <a:gd name="connsiteX2" fmla="*/ 1828800 w 1828800"/>
                <a:gd name="connsiteY2" fmla="*/ 457200 h 914400"/>
                <a:gd name="connsiteX3" fmla="*/ 1732153 w 1828800"/>
                <a:gd name="connsiteY3" fmla="*/ 914400 h 914400"/>
                <a:gd name="connsiteX4" fmla="*/ 0 w 1828800"/>
                <a:gd name="connsiteY4" fmla="*/ 914400 h 914400"/>
                <a:gd name="connsiteX5" fmla="*/ 82655 w 1828800"/>
                <a:gd name="connsiteY5" fmla="*/ 457200 h 914400"/>
                <a:gd name="connsiteX0" fmla="*/ 0 w 1828800"/>
                <a:gd name="connsiteY0" fmla="*/ 0 h 914400"/>
                <a:gd name="connsiteX1" fmla="*/ 1746145 w 1828800"/>
                <a:gd name="connsiteY1" fmla="*/ 0 h 914400"/>
                <a:gd name="connsiteX2" fmla="*/ 1828800 w 1828800"/>
                <a:gd name="connsiteY2" fmla="*/ 457200 h 914400"/>
                <a:gd name="connsiteX3" fmla="*/ 1732153 w 1828800"/>
                <a:gd name="connsiteY3" fmla="*/ 914400 h 914400"/>
                <a:gd name="connsiteX4" fmla="*/ 0 w 1828800"/>
                <a:gd name="connsiteY4" fmla="*/ 914400 h 914400"/>
                <a:gd name="connsiteX5" fmla="*/ 82655 w 1828800"/>
                <a:gd name="connsiteY5" fmla="*/ 457200 h 914400"/>
                <a:gd name="connsiteX0" fmla="*/ 0 w 1828800"/>
                <a:gd name="connsiteY0" fmla="*/ 0 h 914400"/>
                <a:gd name="connsiteX1" fmla="*/ 1746145 w 1828800"/>
                <a:gd name="connsiteY1" fmla="*/ 0 h 914400"/>
                <a:gd name="connsiteX2" fmla="*/ 1828800 w 1828800"/>
                <a:gd name="connsiteY2" fmla="*/ 457200 h 914400"/>
                <a:gd name="connsiteX3" fmla="*/ 1746145 w 1828800"/>
                <a:gd name="connsiteY3" fmla="*/ 914400 h 914400"/>
                <a:gd name="connsiteX4" fmla="*/ 0 w 1828800"/>
                <a:gd name="connsiteY4" fmla="*/ 914400 h 914400"/>
                <a:gd name="connsiteX5" fmla="*/ 82655 w 1828800"/>
                <a:gd name="connsiteY5" fmla="*/ 457200 h 914400"/>
                <a:gd name="connsiteX0" fmla="*/ 0 w 1828800"/>
                <a:gd name="connsiteY0" fmla="*/ 0 h 914400"/>
                <a:gd name="connsiteX1" fmla="*/ 1746145 w 1828800"/>
                <a:gd name="connsiteY1" fmla="*/ 0 h 914400"/>
                <a:gd name="connsiteX2" fmla="*/ 1828800 w 1828800"/>
                <a:gd name="connsiteY2" fmla="*/ 457200 h 914400"/>
                <a:gd name="connsiteX3" fmla="*/ 1746145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46145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95750 w 1828800"/>
                <a:gd name="connsiteY5" fmla="*/ 457200 h 914400"/>
                <a:gd name="connsiteX0" fmla="*/ 0 w 1828800"/>
                <a:gd name="connsiteY0" fmla="*/ 0 h 914400"/>
                <a:gd name="connsiteX1" fmla="*/ 1733050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65398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33050 w 1828800"/>
                <a:gd name="connsiteY3" fmla="*/ 914400 h 914400"/>
                <a:gd name="connsiteX4" fmla="*/ 0 w 1828800"/>
                <a:gd name="connsiteY4" fmla="*/ 914400 h 914400"/>
                <a:gd name="connsiteX5" fmla="*/ 65398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65398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65398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65398 w 1828800"/>
                <a:gd name="connsiteY5" fmla="*/ 457201 h 914400"/>
                <a:gd name="connsiteX0" fmla="*/ 0 w 1828800"/>
                <a:gd name="connsiteY0" fmla="*/ 0 h 914400"/>
                <a:gd name="connsiteX1" fmla="*/ 1763401 w 1828800"/>
                <a:gd name="connsiteY1" fmla="*/ 0 h 914400"/>
                <a:gd name="connsiteX2" fmla="*/ 1828800 w 1828800"/>
                <a:gd name="connsiteY2" fmla="*/ 457200 h 914400"/>
                <a:gd name="connsiteX3" fmla="*/ 1763401 w 1828800"/>
                <a:gd name="connsiteY3" fmla="*/ 914400 h 914400"/>
                <a:gd name="connsiteX4" fmla="*/ 0 w 1828800"/>
                <a:gd name="connsiteY4" fmla="*/ 914400 h 914400"/>
                <a:gd name="connsiteX5" fmla="*/ 65398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63401" y="0"/>
                  </a:lnTo>
                  <a:lnTo>
                    <a:pt x="1828800" y="457200"/>
                  </a:lnTo>
                  <a:lnTo>
                    <a:pt x="1763401" y="914400"/>
                  </a:lnTo>
                  <a:lnTo>
                    <a:pt x="0" y="914400"/>
                  </a:lnTo>
                  <a:lnTo>
                    <a:pt x="65398" y="457201"/>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500" b="1" err="1">
                <a:solidFill>
                  <a:schemeClr val="tx1"/>
                </a:solidFill>
              </a:endParaRPr>
            </a:p>
          </p:txBody>
        </p:sp>
        <p:sp>
          <p:nvSpPr>
            <p:cNvPr id="37" name="TextBox 36">
              <a:extLst>
                <a:ext uri="{FF2B5EF4-FFF2-40B4-BE49-F238E27FC236}">
                  <a16:creationId xmlns:a16="http://schemas.microsoft.com/office/drawing/2014/main" id="{38A0EF21-05B6-4BEE-9BC5-A4ACE242A416}"/>
                </a:ext>
              </a:extLst>
            </p:cNvPr>
            <p:cNvSpPr txBox="1"/>
            <p:nvPr>
              <p:custDataLst>
                <p:tags r:id="rId10"/>
              </p:custDataLst>
            </p:nvPr>
          </p:nvSpPr>
          <p:spPr>
            <a:xfrm>
              <a:off x="7504657" y="2228410"/>
              <a:ext cx="3090363" cy="578771"/>
            </a:xfrm>
            <a:prstGeom prst="rect">
              <a:avLst/>
            </a:prstGeom>
            <a:grpFill/>
            <a:ln>
              <a:noFill/>
            </a:ln>
          </p:spPr>
          <p:txBody>
            <a:bodyPr vert="horz" lIns="0" tIns="0" rIns="0" bIns="0" rtlCol="0" anchor="ctr">
              <a:noAutofit/>
            </a:bodyPr>
            <a:lstStyle>
              <a:lvl1pPr marL="266693" lvl="0" indent="-266693" defTabSz="914378">
                <a:spcBef>
                  <a:spcPts val="400"/>
                </a:spcBef>
                <a:buFont typeface="Arial" panose="020B0604020202020204" pitchFamily="34" charset="0"/>
                <a:buChar char="•"/>
                <a:defRPr sz="1400"/>
              </a:lvl1pPr>
              <a:lvl2pPr marL="450839" lvl="1" indent="-184145" defTabSz="914378">
                <a:spcBef>
                  <a:spcPts val="0"/>
                </a:spcBef>
                <a:buFont typeface="Arial" panose="020B0604020202020204" pitchFamily="34" charset="0"/>
                <a:buChar char="•"/>
                <a:defRPr sz="1400"/>
              </a:lvl2pPr>
              <a:lvl3pPr marL="628634" lvl="2" indent="-177796" defTabSz="914378">
                <a:spcBef>
                  <a:spcPts val="0"/>
                </a:spcBef>
                <a:buFont typeface="Arial" panose="020B0604020202020204" pitchFamily="34" charset="0"/>
                <a:buChar char="•"/>
                <a:defRPr sz="1400"/>
              </a:lvl3pPr>
              <a:lvl4pPr marL="806430" lvl="3" indent="-177796" defTabSz="914378">
                <a:spcBef>
                  <a:spcPts val="0"/>
                </a:spcBef>
                <a:buFont typeface="Arial" panose="020B0604020202020204" pitchFamily="34" charset="0"/>
                <a:buChar char="•"/>
                <a:defRPr sz="1400"/>
              </a:lvl4pPr>
              <a:lvl5pPr marL="984226" lvl="4" indent="-177796" defTabSz="914378">
                <a:spcBef>
                  <a:spcPts val="0"/>
                </a:spcBef>
                <a:buFont typeface="Arial" panose="020B0604020202020204" pitchFamily="34" charset="0"/>
                <a:buChar char="•"/>
                <a:defRPr sz="1400"/>
              </a:lvl5pPr>
              <a:lvl6pPr marL="2514537" indent="-228594" defTabSz="914378">
                <a:spcBef>
                  <a:spcPct val="20000"/>
                </a:spcBef>
                <a:buFont typeface="Arial" panose="020B0604020202020204" pitchFamily="34" charset="0"/>
                <a:buChar char="•"/>
                <a:defRPr sz="2000"/>
              </a:lvl6pPr>
              <a:lvl7pPr marL="2971726" indent="-228594" defTabSz="914378">
                <a:spcBef>
                  <a:spcPct val="20000"/>
                </a:spcBef>
                <a:buFont typeface="Arial" panose="020B0604020202020204" pitchFamily="34" charset="0"/>
                <a:buChar char="•"/>
                <a:defRPr sz="2000"/>
              </a:lvl7pPr>
              <a:lvl8pPr marL="3428915" indent="-228594" defTabSz="914378">
                <a:spcBef>
                  <a:spcPct val="20000"/>
                </a:spcBef>
                <a:buFont typeface="Arial" panose="020B0604020202020204" pitchFamily="34" charset="0"/>
                <a:buChar char="•"/>
                <a:defRPr sz="2000"/>
              </a:lvl8pPr>
              <a:lvl9pPr marL="3886103" indent="-228594" defTabSz="914378">
                <a:spcBef>
                  <a:spcPct val="20000"/>
                </a:spcBef>
                <a:buFont typeface="Arial" panose="020B0604020202020204" pitchFamily="34" charset="0"/>
                <a:buChar char="•"/>
                <a:defRPr sz="2000"/>
              </a:lvl9pPr>
            </a:lstStyle>
            <a:p>
              <a:pPr marL="45244" indent="0">
                <a:buNone/>
              </a:pPr>
              <a:r>
                <a:rPr lang="en-US" sz="1500" b="1" dirty="0"/>
                <a:t>Clinical Development</a:t>
              </a:r>
            </a:p>
          </p:txBody>
        </p:sp>
      </p:grpSp>
      <p:sp>
        <p:nvSpPr>
          <p:cNvPr id="100" name="Freeform: Shape 99">
            <a:extLst>
              <a:ext uri="{FF2B5EF4-FFF2-40B4-BE49-F238E27FC236}">
                <a16:creationId xmlns:a16="http://schemas.microsoft.com/office/drawing/2014/main" id="{7A47C948-078F-4018-9F57-EEA2DD4F63FE}"/>
              </a:ext>
            </a:extLst>
          </p:cNvPr>
          <p:cNvSpPr/>
          <p:nvPr>
            <p:custDataLst>
              <p:tags r:id="rId7"/>
            </p:custDataLst>
          </p:nvPr>
        </p:nvSpPr>
        <p:spPr>
          <a:xfrm>
            <a:off x="8037001" y="1746660"/>
            <a:ext cx="690947" cy="504091"/>
          </a:xfrm>
          <a:custGeom>
            <a:avLst/>
            <a:gdLst>
              <a:gd name="connsiteX0" fmla="*/ 0 w 921262"/>
              <a:gd name="connsiteY0" fmla="*/ 0 h 672121"/>
              <a:gd name="connsiteX1" fmla="*/ 921262 w 921262"/>
              <a:gd name="connsiteY1" fmla="*/ 0 h 672121"/>
              <a:gd name="connsiteX2" fmla="*/ 921262 w 921262"/>
              <a:gd name="connsiteY2" fmla="*/ 672121 h 672121"/>
              <a:gd name="connsiteX3" fmla="*/ 0 w 921262"/>
              <a:gd name="connsiteY3" fmla="*/ 672121 h 672121"/>
              <a:gd name="connsiteX4" fmla="*/ 177129 w 921262"/>
              <a:gd name="connsiteY4" fmla="*/ 336061 h 672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262" h="672121">
                <a:moveTo>
                  <a:pt x="0" y="0"/>
                </a:moveTo>
                <a:lnTo>
                  <a:pt x="921262" y="0"/>
                </a:lnTo>
                <a:lnTo>
                  <a:pt x="921262" y="672121"/>
                </a:lnTo>
                <a:lnTo>
                  <a:pt x="0" y="672121"/>
                </a:lnTo>
                <a:lnTo>
                  <a:pt x="177129" y="336061"/>
                </a:lnTo>
                <a:close/>
              </a:path>
            </a:pathLst>
          </a:custGeom>
          <a:solidFill>
            <a:srgbClr val="E6E6E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endParaRPr lang="en-US" sz="1200" b="1" err="1">
              <a:solidFill>
                <a:schemeClr val="bg1"/>
              </a:solidFill>
            </a:endParaRPr>
          </a:p>
        </p:txBody>
      </p:sp>
      <p:sp>
        <p:nvSpPr>
          <p:cNvPr id="95" name="TextBox 59">
            <a:extLst>
              <a:ext uri="{FF2B5EF4-FFF2-40B4-BE49-F238E27FC236}">
                <a16:creationId xmlns:a16="http://schemas.microsoft.com/office/drawing/2014/main" id="{22D1297E-BED2-4BB4-8B8D-263A14E877E8}"/>
              </a:ext>
            </a:extLst>
          </p:cNvPr>
          <p:cNvSpPr txBox="1">
            <a:spLocks noChangeArrowheads="1"/>
          </p:cNvSpPr>
          <p:nvPr/>
        </p:nvSpPr>
        <p:spPr bwMode="auto">
          <a:xfrm>
            <a:off x="416052" y="1297296"/>
            <a:ext cx="831189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7613">
              <a:spcBef>
                <a:spcPts val="300"/>
              </a:spcBef>
              <a:spcAft>
                <a:spcPts val="300"/>
              </a:spcAft>
              <a:buClr>
                <a:schemeClr val="tx1"/>
              </a:buClr>
              <a:buSzPct val="100000"/>
              <a:buFont typeface="Segoe UI" panose="020B0502040204020203" pitchFamily="34" charset="0"/>
              <a:buChar char="​"/>
              <a:defRPr sz="1600">
                <a:solidFill>
                  <a:schemeClr val="tx1"/>
                </a:solidFill>
                <a:latin typeface="BISans" panose="02000503040000020004" pitchFamily="2" charset="0"/>
                <a:sym typeface="+mn-lt"/>
              </a:defRPr>
            </a:lvl1pPr>
            <a:lvl2pPr marL="450850" indent="-184150" defTabSz="1217613">
              <a:spcAft>
                <a:spcPts val="300"/>
              </a:spcAft>
              <a:buSzPct val="100000"/>
              <a:buFont typeface="BISans" panose="02000503040000020004" pitchFamily="2" charset="0"/>
              <a:buChar char="•"/>
              <a:defRPr sz="1600">
                <a:solidFill>
                  <a:schemeClr val="tx1"/>
                </a:solidFill>
                <a:latin typeface="BISans" panose="02000503040000020004" pitchFamily="2" charset="0"/>
                <a:sym typeface="+mn-lt"/>
              </a:defRPr>
            </a:lvl2pPr>
            <a:lvl3pPr marL="628650" indent="-177800" defTabSz="1217613">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3pPr>
            <a:lvl4pPr marL="806450" indent="-177800" defTabSz="1217613">
              <a:spcAft>
                <a:spcPts val="300"/>
              </a:spcAft>
              <a:buSzPct val="100000"/>
              <a:buFont typeface="BISans" panose="02000503040000020004" pitchFamily="2" charset="0"/>
              <a:buChar char="•"/>
              <a:defRPr sz="1600">
                <a:solidFill>
                  <a:schemeClr val="tx1"/>
                </a:solidFill>
                <a:latin typeface="BISans" panose="02000503040000020004" pitchFamily="2" charset="0"/>
                <a:sym typeface="+mn-lt"/>
              </a:defRPr>
            </a:lvl4pPr>
            <a:lvl5pPr marL="984250" indent="-177800" defTabSz="1217613">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5pPr>
            <a:lvl6pPr marL="14414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6pPr>
            <a:lvl7pPr marL="18986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7pPr>
            <a:lvl8pPr marL="23558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8pPr>
            <a:lvl9pPr marL="2813050" indent="-177800" defTabSz="1217613" fontAlgn="base">
              <a:spcBef>
                <a:spcPct val="0"/>
              </a:spcBef>
              <a:spcAft>
                <a:spcPts val="300"/>
              </a:spcAft>
              <a:buSzPct val="100000"/>
              <a:buFont typeface="Arial" panose="020B0604020202020204" pitchFamily="34" charset="0"/>
              <a:buChar char="–"/>
              <a:defRPr sz="1600">
                <a:solidFill>
                  <a:schemeClr val="tx1"/>
                </a:solidFill>
                <a:latin typeface="BISans" panose="02000503040000020004" pitchFamily="2" charset="0"/>
                <a:sym typeface="+mn-lt"/>
              </a:defRPr>
            </a:lvl9pPr>
          </a:lstStyle>
          <a:p>
            <a:pPr>
              <a:spcBef>
                <a:spcPts val="404"/>
              </a:spcBef>
              <a:spcAft>
                <a:spcPct val="0"/>
              </a:spcAft>
              <a:buClrTx/>
              <a:buSzTx/>
              <a:buNone/>
            </a:pPr>
            <a:r>
              <a:rPr lang="en-US" altLang="de-DE" sz="1800" b="1" dirty="0"/>
              <a:t>Use cases across the pharma value chain</a:t>
            </a:r>
          </a:p>
        </p:txBody>
      </p:sp>
      <p:sp>
        <p:nvSpPr>
          <p:cNvPr id="110" name="Freeform: Shape 109">
            <a:extLst>
              <a:ext uri="{FF2B5EF4-FFF2-40B4-BE49-F238E27FC236}">
                <a16:creationId xmlns:a16="http://schemas.microsoft.com/office/drawing/2014/main" id="{24AE4515-6B04-4332-9DD5-C5B1DD9F65B2}"/>
              </a:ext>
            </a:extLst>
          </p:cNvPr>
          <p:cNvSpPr/>
          <p:nvPr>
            <p:custDataLst>
              <p:tags r:id="rId8"/>
            </p:custDataLst>
          </p:nvPr>
        </p:nvSpPr>
        <p:spPr>
          <a:xfrm>
            <a:off x="8037001" y="1746660"/>
            <a:ext cx="690947" cy="504091"/>
          </a:xfrm>
          <a:custGeom>
            <a:avLst/>
            <a:gdLst>
              <a:gd name="connsiteX0" fmla="*/ 0 w 921262"/>
              <a:gd name="connsiteY0" fmla="*/ 0 h 672121"/>
              <a:gd name="connsiteX1" fmla="*/ 921262 w 921262"/>
              <a:gd name="connsiteY1" fmla="*/ 0 h 672121"/>
              <a:gd name="connsiteX2" fmla="*/ 921262 w 921262"/>
              <a:gd name="connsiteY2" fmla="*/ 672121 h 672121"/>
              <a:gd name="connsiteX3" fmla="*/ 0 w 921262"/>
              <a:gd name="connsiteY3" fmla="*/ 672121 h 672121"/>
              <a:gd name="connsiteX4" fmla="*/ 120981 w 921262"/>
              <a:gd name="connsiteY4" fmla="*/ 336061 h 672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262" h="672121">
                <a:moveTo>
                  <a:pt x="0" y="0"/>
                </a:moveTo>
                <a:lnTo>
                  <a:pt x="921262" y="0"/>
                </a:lnTo>
                <a:lnTo>
                  <a:pt x="921262" y="672121"/>
                </a:lnTo>
                <a:lnTo>
                  <a:pt x="0" y="672121"/>
                </a:lnTo>
                <a:lnTo>
                  <a:pt x="120981" y="336061"/>
                </a:lnTo>
                <a:close/>
              </a:path>
            </a:pathLst>
          </a:custGeom>
          <a:solidFill>
            <a:srgbClr val="E6E6E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endParaRPr lang="en-US" sz="1200" b="1" err="1">
              <a:solidFill>
                <a:schemeClr val="tx1"/>
              </a:solidFill>
            </a:endParaRPr>
          </a:p>
        </p:txBody>
      </p:sp>
      <p:pic>
        <p:nvPicPr>
          <p:cNvPr id="55" name="Graphic 54">
            <a:extLst>
              <a:ext uri="{FF2B5EF4-FFF2-40B4-BE49-F238E27FC236}">
                <a16:creationId xmlns:a16="http://schemas.microsoft.com/office/drawing/2014/main" id="{BB824210-9B8D-4E67-8D12-3B3427E6117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67510" y="3111736"/>
            <a:ext cx="431800" cy="431800"/>
          </a:xfrm>
          <a:prstGeom prst="rect">
            <a:avLst/>
          </a:prstGeom>
        </p:spPr>
      </p:pic>
      <p:grpSp>
        <p:nvGrpSpPr>
          <p:cNvPr id="71" name="Group 70">
            <a:extLst>
              <a:ext uri="{FF2B5EF4-FFF2-40B4-BE49-F238E27FC236}">
                <a16:creationId xmlns:a16="http://schemas.microsoft.com/office/drawing/2014/main" id="{BF2125A5-1B29-461B-977F-5E7EA6D48C4A}"/>
              </a:ext>
            </a:extLst>
          </p:cNvPr>
          <p:cNvGrpSpPr/>
          <p:nvPr/>
        </p:nvGrpSpPr>
        <p:grpSpPr>
          <a:xfrm>
            <a:off x="1433802" y="3099994"/>
            <a:ext cx="411883" cy="455285"/>
            <a:chOff x="554735" y="2945977"/>
            <a:chExt cx="549177" cy="607046"/>
          </a:xfrm>
        </p:grpSpPr>
        <p:sp>
          <p:nvSpPr>
            <p:cNvPr id="72" name="Freeform: Shape 71">
              <a:extLst>
                <a:ext uri="{FF2B5EF4-FFF2-40B4-BE49-F238E27FC236}">
                  <a16:creationId xmlns:a16="http://schemas.microsoft.com/office/drawing/2014/main" id="{2D77CB8A-B726-4883-B8D3-08ACAF5D4E9D}"/>
                </a:ext>
              </a:extLst>
            </p:cNvPr>
            <p:cNvSpPr/>
            <p:nvPr/>
          </p:nvSpPr>
          <p:spPr>
            <a:xfrm>
              <a:off x="761474" y="3189140"/>
              <a:ext cx="135700" cy="135696"/>
            </a:xfrm>
            <a:custGeom>
              <a:avLst/>
              <a:gdLst>
                <a:gd name="connsiteX0" fmla="*/ 134449 w 135700"/>
                <a:gd name="connsiteY0" fmla="*/ 80754 h 135696"/>
                <a:gd name="connsiteX1" fmla="*/ 54943 w 135700"/>
                <a:gd name="connsiteY1" fmla="*/ 134444 h 135696"/>
                <a:gd name="connsiteX2" fmla="*/ 1251 w 135700"/>
                <a:gd name="connsiteY2" fmla="*/ 54942 h 135696"/>
                <a:gd name="connsiteX3" fmla="*/ 80755 w 135700"/>
                <a:gd name="connsiteY3" fmla="*/ 1252 h 135696"/>
                <a:gd name="connsiteX4" fmla="*/ 134449 w 135700"/>
                <a:gd name="connsiteY4" fmla="*/ 80754 h 135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00" h="135696">
                  <a:moveTo>
                    <a:pt x="134449" y="80754"/>
                  </a:moveTo>
                  <a:cubicBezTo>
                    <a:pt x="127320" y="117536"/>
                    <a:pt x="91723" y="141575"/>
                    <a:pt x="54943" y="134444"/>
                  </a:cubicBezTo>
                  <a:cubicBezTo>
                    <a:pt x="18162" y="127315"/>
                    <a:pt x="-5876" y="91722"/>
                    <a:pt x="1251" y="54942"/>
                  </a:cubicBezTo>
                  <a:cubicBezTo>
                    <a:pt x="8382" y="18160"/>
                    <a:pt x="43976" y="-5877"/>
                    <a:pt x="80755" y="1252"/>
                  </a:cubicBezTo>
                  <a:cubicBezTo>
                    <a:pt x="117539" y="8379"/>
                    <a:pt x="141576" y="43972"/>
                    <a:pt x="134449" y="80754"/>
                  </a:cubicBezTo>
                  <a:close/>
                </a:path>
              </a:pathLst>
            </a:custGeom>
            <a:solidFill>
              <a:srgbClr val="BD1622"/>
            </a:solidFill>
            <a:ln w="1939" cap="flat">
              <a:noFill/>
              <a:prstDash val="solid"/>
              <a:round/>
            </a:ln>
          </p:spPr>
          <p:txBody>
            <a:bodyPr rtlCol="0" anchor="ctr"/>
            <a:lstStyle/>
            <a:p>
              <a:endParaRPr lang="en-US" sz="1350"/>
            </a:p>
          </p:txBody>
        </p:sp>
        <p:sp>
          <p:nvSpPr>
            <p:cNvPr id="73" name="Freeform: Shape 72">
              <a:extLst>
                <a:ext uri="{FF2B5EF4-FFF2-40B4-BE49-F238E27FC236}">
                  <a16:creationId xmlns:a16="http://schemas.microsoft.com/office/drawing/2014/main" id="{7238247E-B210-42BE-A1F9-CA19F0B1B5F2}"/>
                </a:ext>
              </a:extLst>
            </p:cNvPr>
            <p:cNvSpPr/>
            <p:nvPr/>
          </p:nvSpPr>
          <p:spPr>
            <a:xfrm>
              <a:off x="768646" y="3191594"/>
              <a:ext cx="109220" cy="109220"/>
            </a:xfrm>
            <a:custGeom>
              <a:avLst/>
              <a:gdLst>
                <a:gd name="connsiteX0" fmla="*/ 108213 w 109220"/>
                <a:gd name="connsiteY0" fmla="*/ 65000 h 109220"/>
                <a:gd name="connsiteX1" fmla="*/ 44222 w 109220"/>
                <a:gd name="connsiteY1" fmla="*/ 108212 h 109220"/>
                <a:gd name="connsiteX2" fmla="*/ 1008 w 109220"/>
                <a:gd name="connsiteY2" fmla="*/ 44223 h 109220"/>
                <a:gd name="connsiteX3" fmla="*/ 64998 w 109220"/>
                <a:gd name="connsiteY3" fmla="*/ 1007 h 109220"/>
                <a:gd name="connsiteX4" fmla="*/ 108213 w 109220"/>
                <a:gd name="connsiteY4" fmla="*/ 65000 h 109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220" h="109220">
                  <a:moveTo>
                    <a:pt x="108213" y="65000"/>
                  </a:moveTo>
                  <a:cubicBezTo>
                    <a:pt x="102477" y="94604"/>
                    <a:pt x="73825" y="113952"/>
                    <a:pt x="44222" y="108212"/>
                  </a:cubicBezTo>
                  <a:cubicBezTo>
                    <a:pt x="14616" y="102474"/>
                    <a:pt x="-4730" y="73825"/>
                    <a:pt x="1008" y="44223"/>
                  </a:cubicBezTo>
                  <a:cubicBezTo>
                    <a:pt x="6745" y="14618"/>
                    <a:pt x="35393" y="-4729"/>
                    <a:pt x="64998" y="1007"/>
                  </a:cubicBezTo>
                  <a:cubicBezTo>
                    <a:pt x="94604" y="6745"/>
                    <a:pt x="113952" y="35394"/>
                    <a:pt x="108213" y="65000"/>
                  </a:cubicBezTo>
                  <a:close/>
                </a:path>
              </a:pathLst>
            </a:custGeom>
            <a:solidFill>
              <a:srgbClr val="E5332A"/>
            </a:solidFill>
            <a:ln w="1939" cap="flat">
              <a:noFill/>
              <a:prstDash val="solid"/>
              <a:round/>
            </a:ln>
          </p:spPr>
          <p:txBody>
            <a:bodyPr rtlCol="0" anchor="ctr"/>
            <a:lstStyle/>
            <a:p>
              <a:endParaRPr lang="en-US" sz="1350"/>
            </a:p>
          </p:txBody>
        </p:sp>
        <p:sp>
          <p:nvSpPr>
            <p:cNvPr id="74" name="Freeform: Shape 73">
              <a:extLst>
                <a:ext uri="{FF2B5EF4-FFF2-40B4-BE49-F238E27FC236}">
                  <a16:creationId xmlns:a16="http://schemas.microsoft.com/office/drawing/2014/main" id="{26097BFF-8AB2-4206-925B-17A4E3810CCC}"/>
                </a:ext>
              </a:extLst>
            </p:cNvPr>
            <p:cNvSpPr/>
            <p:nvPr/>
          </p:nvSpPr>
          <p:spPr>
            <a:xfrm>
              <a:off x="796159" y="3209960"/>
              <a:ext cx="24929" cy="24928"/>
            </a:xfrm>
            <a:custGeom>
              <a:avLst/>
              <a:gdLst>
                <a:gd name="connsiteX0" fmla="*/ 24700 w 24929"/>
                <a:gd name="connsiteY0" fmla="*/ 14836 h 24928"/>
                <a:gd name="connsiteX1" fmla="*/ 10094 w 24929"/>
                <a:gd name="connsiteY1" fmla="*/ 24698 h 24928"/>
                <a:gd name="connsiteX2" fmla="*/ 230 w 24929"/>
                <a:gd name="connsiteY2" fmla="*/ 10092 h 24928"/>
                <a:gd name="connsiteX3" fmla="*/ 14838 w 24929"/>
                <a:gd name="connsiteY3" fmla="*/ 230 h 24928"/>
                <a:gd name="connsiteX4" fmla="*/ 24700 w 24929"/>
                <a:gd name="connsiteY4" fmla="*/ 14836 h 24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29" h="24928">
                  <a:moveTo>
                    <a:pt x="24700" y="14836"/>
                  </a:moveTo>
                  <a:cubicBezTo>
                    <a:pt x="23389" y="21591"/>
                    <a:pt x="16851" y="26009"/>
                    <a:pt x="10094" y="24698"/>
                  </a:cubicBezTo>
                  <a:cubicBezTo>
                    <a:pt x="3337" y="23390"/>
                    <a:pt x="-1079" y="16849"/>
                    <a:pt x="230" y="10092"/>
                  </a:cubicBezTo>
                  <a:cubicBezTo>
                    <a:pt x="1540" y="3337"/>
                    <a:pt x="8079" y="-1080"/>
                    <a:pt x="14838" y="230"/>
                  </a:cubicBezTo>
                  <a:cubicBezTo>
                    <a:pt x="21593" y="1539"/>
                    <a:pt x="26010" y="8077"/>
                    <a:pt x="24700" y="14836"/>
                  </a:cubicBezTo>
                  <a:close/>
                </a:path>
              </a:pathLst>
            </a:custGeom>
            <a:solidFill>
              <a:srgbClr val="FFFFFF"/>
            </a:solidFill>
            <a:ln w="1939" cap="flat">
              <a:noFill/>
              <a:prstDash val="solid"/>
              <a:round/>
            </a:ln>
          </p:spPr>
          <p:txBody>
            <a:bodyPr rtlCol="0" anchor="ctr"/>
            <a:lstStyle/>
            <a:p>
              <a:endParaRPr lang="en-US" sz="1350"/>
            </a:p>
          </p:txBody>
        </p:sp>
        <p:sp>
          <p:nvSpPr>
            <p:cNvPr id="76" name="Freeform: Shape 75">
              <a:extLst>
                <a:ext uri="{FF2B5EF4-FFF2-40B4-BE49-F238E27FC236}">
                  <a16:creationId xmlns:a16="http://schemas.microsoft.com/office/drawing/2014/main" id="{42688EAF-9CCA-4FCB-A110-143055FD3A5E}"/>
                </a:ext>
              </a:extLst>
            </p:cNvPr>
            <p:cNvSpPr/>
            <p:nvPr/>
          </p:nvSpPr>
          <p:spPr>
            <a:xfrm>
              <a:off x="723643" y="2945977"/>
              <a:ext cx="211363" cy="607046"/>
            </a:xfrm>
            <a:custGeom>
              <a:avLst/>
              <a:gdLst>
                <a:gd name="connsiteX0" fmla="*/ 104424 w 211363"/>
                <a:gd name="connsiteY0" fmla="*/ 584089 h 607046"/>
                <a:gd name="connsiteX1" fmla="*/ 8629 w 211363"/>
                <a:gd name="connsiteY1" fmla="*/ 294333 h 607046"/>
                <a:gd name="connsiteX2" fmla="*/ 107017 w 211363"/>
                <a:gd name="connsiteY2" fmla="*/ 5453 h 607046"/>
                <a:gd name="connsiteX3" fmla="*/ 202809 w 211363"/>
                <a:gd name="connsiteY3" fmla="*/ 295207 h 607046"/>
                <a:gd name="connsiteX4" fmla="*/ 104424 w 211363"/>
                <a:gd name="connsiteY4" fmla="*/ 584089 h 607046"/>
                <a:gd name="connsiteX5" fmla="*/ 107046 w 211363"/>
                <a:gd name="connsiteY5" fmla="*/ 0 h 607046"/>
                <a:gd name="connsiteX6" fmla="*/ 9 w 211363"/>
                <a:gd name="connsiteY6" fmla="*/ 303046 h 607046"/>
                <a:gd name="connsiteX7" fmla="*/ 104317 w 211363"/>
                <a:gd name="connsiteY7" fmla="*/ 607046 h 607046"/>
                <a:gd name="connsiteX8" fmla="*/ 211355 w 211363"/>
                <a:gd name="connsiteY8" fmla="*/ 303997 h 607046"/>
                <a:gd name="connsiteX9" fmla="*/ 107046 w 211363"/>
                <a:gd name="connsiteY9" fmla="*/ 0 h 60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363" h="607046">
                  <a:moveTo>
                    <a:pt x="104424" y="584089"/>
                  </a:moveTo>
                  <a:cubicBezTo>
                    <a:pt x="50802" y="583845"/>
                    <a:pt x="7913" y="454118"/>
                    <a:pt x="8629" y="294333"/>
                  </a:cubicBezTo>
                  <a:cubicBezTo>
                    <a:pt x="9347" y="134550"/>
                    <a:pt x="53394" y="5213"/>
                    <a:pt x="107017" y="5453"/>
                  </a:cubicBezTo>
                  <a:cubicBezTo>
                    <a:pt x="160642" y="5695"/>
                    <a:pt x="203529" y="135420"/>
                    <a:pt x="202809" y="295207"/>
                  </a:cubicBezTo>
                  <a:cubicBezTo>
                    <a:pt x="202093" y="454992"/>
                    <a:pt x="158047" y="584331"/>
                    <a:pt x="104424" y="584089"/>
                  </a:cubicBezTo>
                  <a:close/>
                  <a:moveTo>
                    <a:pt x="107046" y="0"/>
                  </a:moveTo>
                  <a:cubicBezTo>
                    <a:pt x="48681" y="-261"/>
                    <a:pt x="763" y="135418"/>
                    <a:pt x="9" y="303046"/>
                  </a:cubicBezTo>
                  <a:cubicBezTo>
                    <a:pt x="-741" y="470680"/>
                    <a:pt x="45958" y="606783"/>
                    <a:pt x="104317" y="607046"/>
                  </a:cubicBezTo>
                  <a:cubicBezTo>
                    <a:pt x="162681" y="607310"/>
                    <a:pt x="210597" y="471621"/>
                    <a:pt x="211355" y="303997"/>
                  </a:cubicBezTo>
                  <a:cubicBezTo>
                    <a:pt x="212103" y="136364"/>
                    <a:pt x="165408" y="262"/>
                    <a:pt x="107046" y="0"/>
                  </a:cubicBezTo>
                  <a:close/>
                </a:path>
              </a:pathLst>
            </a:custGeom>
            <a:solidFill>
              <a:srgbClr val="1D1D1B"/>
            </a:solidFill>
            <a:ln w="1939" cap="flat">
              <a:noFill/>
              <a:prstDash val="solid"/>
              <a:round/>
            </a:ln>
          </p:spPr>
          <p:txBody>
            <a:bodyPr rtlCol="0" anchor="ctr"/>
            <a:lstStyle/>
            <a:p>
              <a:endParaRPr lang="en-US" sz="1350"/>
            </a:p>
          </p:txBody>
        </p:sp>
        <p:sp>
          <p:nvSpPr>
            <p:cNvPr id="77" name="Freeform: Shape 76">
              <a:extLst>
                <a:ext uri="{FF2B5EF4-FFF2-40B4-BE49-F238E27FC236}">
                  <a16:creationId xmlns:a16="http://schemas.microsoft.com/office/drawing/2014/main" id="{71EAFAF4-C2ED-42E8-9E63-4DBF37F3BB6B}"/>
                </a:ext>
              </a:extLst>
            </p:cNvPr>
            <p:cNvSpPr/>
            <p:nvPr/>
          </p:nvSpPr>
          <p:spPr>
            <a:xfrm>
              <a:off x="739221" y="2981363"/>
              <a:ext cx="56844" cy="56843"/>
            </a:xfrm>
            <a:custGeom>
              <a:avLst/>
              <a:gdLst>
                <a:gd name="connsiteX0" fmla="*/ 56188 w 56844"/>
                <a:gd name="connsiteY0" fmla="*/ 34464 h 56843"/>
                <a:gd name="connsiteX1" fmla="*/ 22380 w 56844"/>
                <a:gd name="connsiteY1" fmla="*/ 56188 h 56843"/>
                <a:gd name="connsiteX2" fmla="*/ 657 w 56844"/>
                <a:gd name="connsiteY2" fmla="*/ 22379 h 56843"/>
                <a:gd name="connsiteX3" fmla="*/ 34467 w 56844"/>
                <a:gd name="connsiteY3" fmla="*/ 656 h 56843"/>
                <a:gd name="connsiteX4" fmla="*/ 56188 w 56844"/>
                <a:gd name="connsiteY4" fmla="*/ 34464 h 56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44" h="56843">
                  <a:moveTo>
                    <a:pt x="56188" y="34464"/>
                  </a:moveTo>
                  <a:cubicBezTo>
                    <a:pt x="52851" y="49801"/>
                    <a:pt x="37714" y="59525"/>
                    <a:pt x="22380" y="56188"/>
                  </a:cubicBezTo>
                  <a:cubicBezTo>
                    <a:pt x="7044" y="52850"/>
                    <a:pt x="-2683" y="37715"/>
                    <a:pt x="657" y="22379"/>
                  </a:cubicBezTo>
                  <a:cubicBezTo>
                    <a:pt x="3992" y="7045"/>
                    <a:pt x="19129" y="-2681"/>
                    <a:pt x="34467" y="656"/>
                  </a:cubicBezTo>
                  <a:cubicBezTo>
                    <a:pt x="49799" y="3993"/>
                    <a:pt x="59525" y="19130"/>
                    <a:pt x="56188" y="34464"/>
                  </a:cubicBezTo>
                  <a:close/>
                </a:path>
              </a:pathLst>
            </a:custGeom>
            <a:solidFill>
              <a:srgbClr val="BD1622"/>
            </a:solidFill>
            <a:ln w="1939" cap="flat">
              <a:noFill/>
              <a:prstDash val="solid"/>
              <a:round/>
            </a:ln>
          </p:spPr>
          <p:txBody>
            <a:bodyPr rtlCol="0" anchor="ctr"/>
            <a:lstStyle/>
            <a:p>
              <a:endParaRPr lang="en-US" sz="1350"/>
            </a:p>
          </p:txBody>
        </p:sp>
        <p:sp>
          <p:nvSpPr>
            <p:cNvPr id="78" name="Freeform: Shape 77">
              <a:extLst>
                <a:ext uri="{FF2B5EF4-FFF2-40B4-BE49-F238E27FC236}">
                  <a16:creationId xmlns:a16="http://schemas.microsoft.com/office/drawing/2014/main" id="{6EFE3933-7B83-4129-A621-ABE39E2E2A59}"/>
                </a:ext>
              </a:extLst>
            </p:cNvPr>
            <p:cNvSpPr/>
            <p:nvPr/>
          </p:nvSpPr>
          <p:spPr>
            <a:xfrm>
              <a:off x="742123" y="2982741"/>
              <a:ext cx="46325" cy="46324"/>
            </a:xfrm>
            <a:custGeom>
              <a:avLst/>
              <a:gdLst>
                <a:gd name="connsiteX0" fmla="*/ 45792 w 46325"/>
                <a:gd name="connsiteY0" fmla="*/ 28086 h 46324"/>
                <a:gd name="connsiteX1" fmla="*/ 18240 w 46325"/>
                <a:gd name="connsiteY1" fmla="*/ 45790 h 46324"/>
                <a:gd name="connsiteX2" fmla="*/ 535 w 46325"/>
                <a:gd name="connsiteY2" fmla="*/ 18236 h 46324"/>
                <a:gd name="connsiteX3" fmla="*/ 28088 w 46325"/>
                <a:gd name="connsiteY3" fmla="*/ 535 h 46324"/>
                <a:gd name="connsiteX4" fmla="*/ 45792 w 46325"/>
                <a:gd name="connsiteY4" fmla="*/ 28086 h 46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25" h="46324">
                  <a:moveTo>
                    <a:pt x="45792" y="28086"/>
                  </a:moveTo>
                  <a:cubicBezTo>
                    <a:pt x="43070" y="40585"/>
                    <a:pt x="30735" y="48509"/>
                    <a:pt x="18240" y="45790"/>
                  </a:cubicBezTo>
                  <a:cubicBezTo>
                    <a:pt x="5741" y="43068"/>
                    <a:pt x="-2186" y="30735"/>
                    <a:pt x="535" y="18236"/>
                  </a:cubicBezTo>
                  <a:cubicBezTo>
                    <a:pt x="3254" y="5740"/>
                    <a:pt x="15590" y="-2186"/>
                    <a:pt x="28088" y="535"/>
                  </a:cubicBezTo>
                  <a:cubicBezTo>
                    <a:pt x="40583" y="3256"/>
                    <a:pt x="48511" y="15590"/>
                    <a:pt x="45792" y="28086"/>
                  </a:cubicBezTo>
                  <a:close/>
                </a:path>
              </a:pathLst>
            </a:custGeom>
            <a:solidFill>
              <a:srgbClr val="E5332A"/>
            </a:solidFill>
            <a:ln w="1939" cap="flat">
              <a:noFill/>
              <a:prstDash val="solid"/>
              <a:round/>
            </a:ln>
          </p:spPr>
          <p:txBody>
            <a:bodyPr rtlCol="0" anchor="ctr"/>
            <a:lstStyle/>
            <a:p>
              <a:endParaRPr lang="en-US" sz="1350"/>
            </a:p>
          </p:txBody>
        </p:sp>
        <p:sp>
          <p:nvSpPr>
            <p:cNvPr id="79" name="Freeform: Shape 78">
              <a:extLst>
                <a:ext uri="{FF2B5EF4-FFF2-40B4-BE49-F238E27FC236}">
                  <a16:creationId xmlns:a16="http://schemas.microsoft.com/office/drawing/2014/main" id="{85BDAF0E-39E0-400A-B642-FA75834EA515}"/>
                </a:ext>
              </a:extLst>
            </p:cNvPr>
            <p:cNvSpPr/>
            <p:nvPr/>
          </p:nvSpPr>
          <p:spPr>
            <a:xfrm>
              <a:off x="755418" y="2993519"/>
              <a:ext cx="11460" cy="11458"/>
            </a:xfrm>
            <a:custGeom>
              <a:avLst/>
              <a:gdLst>
                <a:gd name="connsiteX0" fmla="*/ 11328 w 11460"/>
                <a:gd name="connsiteY0" fmla="*/ 6946 h 11458"/>
                <a:gd name="connsiteX1" fmla="*/ 4514 w 11460"/>
                <a:gd name="connsiteY1" fmla="*/ 11326 h 11458"/>
                <a:gd name="connsiteX2" fmla="*/ 132 w 11460"/>
                <a:gd name="connsiteY2" fmla="*/ 4512 h 11458"/>
                <a:gd name="connsiteX3" fmla="*/ 6950 w 11460"/>
                <a:gd name="connsiteY3" fmla="*/ 132 h 11458"/>
                <a:gd name="connsiteX4" fmla="*/ 11328 w 11460"/>
                <a:gd name="connsiteY4" fmla="*/ 6946 h 11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60" h="11458">
                  <a:moveTo>
                    <a:pt x="11328" y="6946"/>
                  </a:moveTo>
                  <a:cubicBezTo>
                    <a:pt x="10655" y="10040"/>
                    <a:pt x="7603" y="11999"/>
                    <a:pt x="4514" y="11326"/>
                  </a:cubicBezTo>
                  <a:cubicBezTo>
                    <a:pt x="1419" y="10653"/>
                    <a:pt x="-539" y="7604"/>
                    <a:pt x="132" y="4512"/>
                  </a:cubicBezTo>
                  <a:cubicBezTo>
                    <a:pt x="807" y="1419"/>
                    <a:pt x="3857" y="-541"/>
                    <a:pt x="6950" y="132"/>
                  </a:cubicBezTo>
                  <a:cubicBezTo>
                    <a:pt x="10039" y="805"/>
                    <a:pt x="12001" y="3853"/>
                    <a:pt x="11328" y="6946"/>
                  </a:cubicBezTo>
                  <a:close/>
                </a:path>
              </a:pathLst>
            </a:custGeom>
            <a:solidFill>
              <a:srgbClr val="FFFFFF"/>
            </a:solidFill>
            <a:ln w="1939" cap="flat">
              <a:noFill/>
              <a:prstDash val="solid"/>
              <a:round/>
            </a:ln>
          </p:spPr>
          <p:txBody>
            <a:bodyPr rtlCol="0" anchor="ctr"/>
            <a:lstStyle/>
            <a:p>
              <a:endParaRPr lang="en-US" sz="1350"/>
            </a:p>
          </p:txBody>
        </p:sp>
        <p:sp>
          <p:nvSpPr>
            <p:cNvPr id="80" name="Freeform: Shape 79">
              <a:extLst>
                <a:ext uri="{FF2B5EF4-FFF2-40B4-BE49-F238E27FC236}">
                  <a16:creationId xmlns:a16="http://schemas.microsoft.com/office/drawing/2014/main" id="{6736257D-B92E-4F58-9B6E-0177A3A59821}"/>
                </a:ext>
              </a:extLst>
            </p:cNvPr>
            <p:cNvSpPr/>
            <p:nvPr/>
          </p:nvSpPr>
          <p:spPr>
            <a:xfrm>
              <a:off x="563848" y="3082799"/>
              <a:ext cx="540063" cy="348789"/>
            </a:xfrm>
            <a:custGeom>
              <a:avLst/>
              <a:gdLst>
                <a:gd name="connsiteX0" fmla="*/ 515008 w 540063"/>
                <a:gd name="connsiteY0" fmla="*/ 37625 h 348789"/>
                <a:gd name="connsiteX1" fmla="*/ 309719 w 540063"/>
                <a:gd name="connsiteY1" fmla="*/ 263437 h 348789"/>
                <a:gd name="connsiteX2" fmla="*/ 9770 w 540063"/>
                <a:gd name="connsiteY2" fmla="*/ 319699 h 348789"/>
                <a:gd name="connsiteX3" fmla="*/ 215062 w 540063"/>
                <a:gd name="connsiteY3" fmla="*/ 93884 h 348789"/>
                <a:gd name="connsiteX4" fmla="*/ 515008 w 540063"/>
                <a:gd name="connsiteY4" fmla="*/ 37625 h 348789"/>
                <a:gd name="connsiteX5" fmla="*/ 5011 w 540063"/>
                <a:gd name="connsiteY5" fmla="*/ 322355 h 348789"/>
                <a:gd name="connsiteX6" fmla="*/ 321543 w 540063"/>
                <a:gd name="connsiteY6" fmla="*/ 266660 h 348789"/>
                <a:gd name="connsiteX7" fmla="*/ 535053 w 540063"/>
                <a:gd name="connsiteY7" fmla="*/ 26436 h 348789"/>
                <a:gd name="connsiteX8" fmla="*/ 218519 w 540063"/>
                <a:gd name="connsiteY8" fmla="*/ 82124 h 348789"/>
                <a:gd name="connsiteX9" fmla="*/ 5011 w 540063"/>
                <a:gd name="connsiteY9" fmla="*/ 322355 h 3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063" h="348789">
                  <a:moveTo>
                    <a:pt x="515008" y="37625"/>
                  </a:moveTo>
                  <a:cubicBezTo>
                    <a:pt x="541145" y="84445"/>
                    <a:pt x="449233" y="185543"/>
                    <a:pt x="309719" y="263437"/>
                  </a:cubicBezTo>
                  <a:cubicBezTo>
                    <a:pt x="170203" y="341324"/>
                    <a:pt x="35911" y="366518"/>
                    <a:pt x="9770" y="319699"/>
                  </a:cubicBezTo>
                  <a:cubicBezTo>
                    <a:pt x="-16366" y="272876"/>
                    <a:pt x="75544" y="171775"/>
                    <a:pt x="215062" y="93884"/>
                  </a:cubicBezTo>
                  <a:cubicBezTo>
                    <a:pt x="354580" y="15996"/>
                    <a:pt x="488870" y="-9198"/>
                    <a:pt x="515008" y="37625"/>
                  </a:cubicBezTo>
                  <a:close/>
                  <a:moveTo>
                    <a:pt x="5011" y="322355"/>
                  </a:moveTo>
                  <a:cubicBezTo>
                    <a:pt x="33461" y="373312"/>
                    <a:pt x="175177" y="348376"/>
                    <a:pt x="321543" y="266660"/>
                  </a:cubicBezTo>
                  <a:cubicBezTo>
                    <a:pt x="467910" y="184945"/>
                    <a:pt x="563504" y="77391"/>
                    <a:pt x="535053" y="26436"/>
                  </a:cubicBezTo>
                  <a:cubicBezTo>
                    <a:pt x="506606" y="-24524"/>
                    <a:pt x="364885" y="414"/>
                    <a:pt x="218519" y="82124"/>
                  </a:cubicBezTo>
                  <a:cubicBezTo>
                    <a:pt x="72154" y="163845"/>
                    <a:pt x="-23440" y="271392"/>
                    <a:pt x="5011" y="322355"/>
                  </a:cubicBezTo>
                  <a:close/>
                </a:path>
              </a:pathLst>
            </a:custGeom>
            <a:solidFill>
              <a:srgbClr val="1D1D1B"/>
            </a:solidFill>
            <a:ln w="1939" cap="flat">
              <a:noFill/>
              <a:prstDash val="solid"/>
              <a:round/>
            </a:ln>
          </p:spPr>
          <p:txBody>
            <a:bodyPr rtlCol="0" anchor="ctr"/>
            <a:lstStyle/>
            <a:p>
              <a:endParaRPr lang="en-US" sz="1350"/>
            </a:p>
          </p:txBody>
        </p:sp>
        <p:sp>
          <p:nvSpPr>
            <p:cNvPr id="87" name="Freeform: Shape 86">
              <a:extLst>
                <a:ext uri="{FF2B5EF4-FFF2-40B4-BE49-F238E27FC236}">
                  <a16:creationId xmlns:a16="http://schemas.microsoft.com/office/drawing/2014/main" id="{E12BDCCA-38B2-4639-84FB-97A64BF18FCA}"/>
                </a:ext>
              </a:extLst>
            </p:cNvPr>
            <p:cNvSpPr/>
            <p:nvPr/>
          </p:nvSpPr>
          <p:spPr>
            <a:xfrm>
              <a:off x="554735" y="3307239"/>
              <a:ext cx="56845" cy="56842"/>
            </a:xfrm>
            <a:custGeom>
              <a:avLst/>
              <a:gdLst>
                <a:gd name="connsiteX0" fmla="*/ 56322 w 56845"/>
                <a:gd name="connsiteY0" fmla="*/ 33830 h 56842"/>
                <a:gd name="connsiteX1" fmla="*/ 23019 w 56845"/>
                <a:gd name="connsiteY1" fmla="*/ 56318 h 56842"/>
                <a:gd name="connsiteX2" fmla="*/ 525 w 56845"/>
                <a:gd name="connsiteY2" fmla="*/ 23013 h 56842"/>
                <a:gd name="connsiteX3" fmla="*/ 33831 w 56845"/>
                <a:gd name="connsiteY3" fmla="*/ 525 h 56842"/>
                <a:gd name="connsiteX4" fmla="*/ 56322 w 56845"/>
                <a:gd name="connsiteY4" fmla="*/ 33830 h 56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45" h="56842">
                  <a:moveTo>
                    <a:pt x="56322" y="33830"/>
                  </a:moveTo>
                  <a:cubicBezTo>
                    <a:pt x="53335" y="49237"/>
                    <a:pt x="38422" y="59305"/>
                    <a:pt x="23019" y="56318"/>
                  </a:cubicBezTo>
                  <a:cubicBezTo>
                    <a:pt x="7608" y="53331"/>
                    <a:pt x="-2462" y="38422"/>
                    <a:pt x="525" y="23013"/>
                  </a:cubicBezTo>
                  <a:cubicBezTo>
                    <a:pt x="3512" y="7606"/>
                    <a:pt x="18423" y="-2462"/>
                    <a:pt x="33831" y="525"/>
                  </a:cubicBezTo>
                  <a:cubicBezTo>
                    <a:pt x="49234" y="3512"/>
                    <a:pt x="59307" y="18423"/>
                    <a:pt x="56322" y="33830"/>
                  </a:cubicBezTo>
                  <a:close/>
                </a:path>
              </a:pathLst>
            </a:custGeom>
            <a:solidFill>
              <a:srgbClr val="BD1622"/>
            </a:solidFill>
            <a:ln w="1939" cap="flat">
              <a:noFill/>
              <a:prstDash val="solid"/>
              <a:round/>
            </a:ln>
          </p:spPr>
          <p:txBody>
            <a:bodyPr rtlCol="0" anchor="ctr"/>
            <a:lstStyle/>
            <a:p>
              <a:endParaRPr lang="en-US" sz="1350"/>
            </a:p>
          </p:txBody>
        </p:sp>
        <p:sp>
          <p:nvSpPr>
            <p:cNvPr id="89" name="Freeform: Shape 88">
              <a:extLst>
                <a:ext uri="{FF2B5EF4-FFF2-40B4-BE49-F238E27FC236}">
                  <a16:creationId xmlns:a16="http://schemas.microsoft.com/office/drawing/2014/main" id="{5B279BC3-C189-48D7-A3E1-BE734949B14C}"/>
                </a:ext>
              </a:extLst>
            </p:cNvPr>
            <p:cNvSpPr/>
            <p:nvPr/>
          </p:nvSpPr>
          <p:spPr>
            <a:xfrm>
              <a:off x="557552" y="3308672"/>
              <a:ext cx="46324" cy="46324"/>
            </a:xfrm>
            <a:custGeom>
              <a:avLst/>
              <a:gdLst>
                <a:gd name="connsiteX0" fmla="*/ 45897 w 46324"/>
                <a:gd name="connsiteY0" fmla="*/ 27570 h 46324"/>
                <a:gd name="connsiteX1" fmla="*/ 18756 w 46324"/>
                <a:gd name="connsiteY1" fmla="*/ 45899 h 46324"/>
                <a:gd name="connsiteX2" fmla="*/ 428 w 46324"/>
                <a:gd name="connsiteY2" fmla="*/ 18756 h 46324"/>
                <a:gd name="connsiteX3" fmla="*/ 27568 w 46324"/>
                <a:gd name="connsiteY3" fmla="*/ 428 h 46324"/>
                <a:gd name="connsiteX4" fmla="*/ 45897 w 46324"/>
                <a:gd name="connsiteY4" fmla="*/ 27570 h 46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24" h="46324">
                  <a:moveTo>
                    <a:pt x="45897" y="27570"/>
                  </a:moveTo>
                  <a:cubicBezTo>
                    <a:pt x="43463" y="40123"/>
                    <a:pt x="31310" y="48329"/>
                    <a:pt x="18756" y="45899"/>
                  </a:cubicBezTo>
                  <a:cubicBezTo>
                    <a:pt x="6199" y="43465"/>
                    <a:pt x="-2006" y="31312"/>
                    <a:pt x="428" y="18756"/>
                  </a:cubicBezTo>
                  <a:cubicBezTo>
                    <a:pt x="2860" y="6199"/>
                    <a:pt x="15010" y="-2006"/>
                    <a:pt x="27568" y="428"/>
                  </a:cubicBezTo>
                  <a:cubicBezTo>
                    <a:pt x="40121" y="2862"/>
                    <a:pt x="48331" y="15010"/>
                    <a:pt x="45897" y="27570"/>
                  </a:cubicBezTo>
                  <a:close/>
                </a:path>
              </a:pathLst>
            </a:custGeom>
            <a:solidFill>
              <a:srgbClr val="E5332A"/>
            </a:solidFill>
            <a:ln w="1939" cap="flat">
              <a:noFill/>
              <a:prstDash val="solid"/>
              <a:round/>
            </a:ln>
          </p:spPr>
          <p:txBody>
            <a:bodyPr rtlCol="0" anchor="ctr"/>
            <a:lstStyle/>
            <a:p>
              <a:endParaRPr lang="en-US" sz="1350"/>
            </a:p>
          </p:txBody>
        </p:sp>
        <p:sp>
          <p:nvSpPr>
            <p:cNvPr id="90" name="Freeform: Shape 89">
              <a:extLst>
                <a:ext uri="{FF2B5EF4-FFF2-40B4-BE49-F238E27FC236}">
                  <a16:creationId xmlns:a16="http://schemas.microsoft.com/office/drawing/2014/main" id="{D5C8FBB3-FB2D-4AAC-9782-25B6A8D4A36C}"/>
                </a:ext>
              </a:extLst>
            </p:cNvPr>
            <p:cNvSpPr/>
            <p:nvPr/>
          </p:nvSpPr>
          <p:spPr>
            <a:xfrm>
              <a:off x="570695" y="3319547"/>
              <a:ext cx="11458" cy="11458"/>
            </a:xfrm>
            <a:custGeom>
              <a:avLst/>
              <a:gdLst>
                <a:gd name="connsiteX0" fmla="*/ 11353 w 11458"/>
                <a:gd name="connsiteY0" fmla="*/ 6819 h 11458"/>
                <a:gd name="connsiteX1" fmla="*/ 4641 w 11458"/>
                <a:gd name="connsiteY1" fmla="*/ 11353 h 11458"/>
                <a:gd name="connsiteX2" fmla="*/ 106 w 11458"/>
                <a:gd name="connsiteY2" fmla="*/ 4639 h 11458"/>
                <a:gd name="connsiteX3" fmla="*/ 6820 w 11458"/>
                <a:gd name="connsiteY3" fmla="*/ 106 h 11458"/>
                <a:gd name="connsiteX4" fmla="*/ 11353 w 11458"/>
                <a:gd name="connsiteY4" fmla="*/ 6819 h 11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58" h="11458">
                  <a:moveTo>
                    <a:pt x="11353" y="6819"/>
                  </a:moveTo>
                  <a:cubicBezTo>
                    <a:pt x="10751" y="9924"/>
                    <a:pt x="7746" y="11953"/>
                    <a:pt x="4641" y="11353"/>
                  </a:cubicBezTo>
                  <a:cubicBezTo>
                    <a:pt x="1532" y="10753"/>
                    <a:pt x="-496" y="7744"/>
                    <a:pt x="106" y="4639"/>
                  </a:cubicBezTo>
                  <a:cubicBezTo>
                    <a:pt x="708" y="1532"/>
                    <a:pt x="3713" y="-496"/>
                    <a:pt x="6820" y="106"/>
                  </a:cubicBezTo>
                  <a:cubicBezTo>
                    <a:pt x="9925" y="706"/>
                    <a:pt x="11955" y="3711"/>
                    <a:pt x="11353" y="6819"/>
                  </a:cubicBezTo>
                  <a:close/>
                </a:path>
              </a:pathLst>
            </a:custGeom>
            <a:solidFill>
              <a:srgbClr val="FFFFFF"/>
            </a:solidFill>
            <a:ln w="1939" cap="flat">
              <a:noFill/>
              <a:prstDash val="solid"/>
              <a:round/>
            </a:ln>
          </p:spPr>
          <p:txBody>
            <a:bodyPr rtlCol="0" anchor="ctr"/>
            <a:lstStyle/>
            <a:p>
              <a:endParaRPr lang="en-US" sz="1350"/>
            </a:p>
          </p:txBody>
        </p:sp>
        <p:sp>
          <p:nvSpPr>
            <p:cNvPr id="91" name="Freeform: Shape 90">
              <a:extLst>
                <a:ext uri="{FF2B5EF4-FFF2-40B4-BE49-F238E27FC236}">
                  <a16:creationId xmlns:a16="http://schemas.microsoft.com/office/drawing/2014/main" id="{BABBDAE4-5704-4B50-A552-7DB1D27143AD}"/>
                </a:ext>
              </a:extLst>
            </p:cNvPr>
            <p:cNvSpPr/>
            <p:nvPr/>
          </p:nvSpPr>
          <p:spPr>
            <a:xfrm>
              <a:off x="554738" y="3082799"/>
              <a:ext cx="540063" cy="348789"/>
            </a:xfrm>
            <a:custGeom>
              <a:avLst/>
              <a:gdLst>
                <a:gd name="connsiteX0" fmla="*/ 325004 w 540063"/>
                <a:gd name="connsiteY0" fmla="*/ 93884 h 348789"/>
                <a:gd name="connsiteX1" fmla="*/ 530293 w 540063"/>
                <a:gd name="connsiteY1" fmla="*/ 319699 h 348789"/>
                <a:gd name="connsiteX2" fmla="*/ 230345 w 540063"/>
                <a:gd name="connsiteY2" fmla="*/ 263437 h 348789"/>
                <a:gd name="connsiteX3" fmla="*/ 25055 w 540063"/>
                <a:gd name="connsiteY3" fmla="*/ 37625 h 348789"/>
                <a:gd name="connsiteX4" fmla="*/ 325004 w 540063"/>
                <a:gd name="connsiteY4" fmla="*/ 93884 h 348789"/>
                <a:gd name="connsiteX5" fmla="*/ 321545 w 540063"/>
                <a:gd name="connsiteY5" fmla="*/ 82124 h 348789"/>
                <a:gd name="connsiteX6" fmla="*/ 5011 w 540063"/>
                <a:gd name="connsiteY6" fmla="*/ 26436 h 348789"/>
                <a:gd name="connsiteX7" fmla="*/ 218521 w 540063"/>
                <a:gd name="connsiteY7" fmla="*/ 266660 h 348789"/>
                <a:gd name="connsiteX8" fmla="*/ 535053 w 540063"/>
                <a:gd name="connsiteY8" fmla="*/ 322355 h 348789"/>
                <a:gd name="connsiteX9" fmla="*/ 321545 w 540063"/>
                <a:gd name="connsiteY9" fmla="*/ 82124 h 3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063" h="348789">
                  <a:moveTo>
                    <a:pt x="325004" y="93884"/>
                  </a:moveTo>
                  <a:cubicBezTo>
                    <a:pt x="464520" y="171775"/>
                    <a:pt x="556430" y="272876"/>
                    <a:pt x="530293" y="319699"/>
                  </a:cubicBezTo>
                  <a:cubicBezTo>
                    <a:pt x="504153" y="366518"/>
                    <a:pt x="369863" y="341324"/>
                    <a:pt x="230345" y="263437"/>
                  </a:cubicBezTo>
                  <a:cubicBezTo>
                    <a:pt x="90831" y="185543"/>
                    <a:pt x="-1081" y="84445"/>
                    <a:pt x="25055" y="37625"/>
                  </a:cubicBezTo>
                  <a:cubicBezTo>
                    <a:pt x="51194" y="-9198"/>
                    <a:pt x="185484" y="15996"/>
                    <a:pt x="325004" y="93884"/>
                  </a:cubicBezTo>
                  <a:close/>
                  <a:moveTo>
                    <a:pt x="321545" y="82124"/>
                  </a:moveTo>
                  <a:cubicBezTo>
                    <a:pt x="175179" y="414"/>
                    <a:pt x="33457" y="-24524"/>
                    <a:pt x="5011" y="26436"/>
                  </a:cubicBezTo>
                  <a:cubicBezTo>
                    <a:pt x="-23440" y="77391"/>
                    <a:pt x="72155" y="184945"/>
                    <a:pt x="218521" y="266660"/>
                  </a:cubicBezTo>
                  <a:cubicBezTo>
                    <a:pt x="364886" y="348376"/>
                    <a:pt x="506602" y="373312"/>
                    <a:pt x="535053" y="322355"/>
                  </a:cubicBezTo>
                  <a:cubicBezTo>
                    <a:pt x="563502" y="271392"/>
                    <a:pt x="467912" y="163845"/>
                    <a:pt x="321545" y="82124"/>
                  </a:cubicBezTo>
                  <a:close/>
                </a:path>
              </a:pathLst>
            </a:custGeom>
            <a:solidFill>
              <a:srgbClr val="1D1D1B"/>
            </a:solidFill>
            <a:ln w="1939" cap="flat">
              <a:noFill/>
              <a:prstDash val="solid"/>
              <a:round/>
            </a:ln>
          </p:spPr>
          <p:txBody>
            <a:bodyPr rtlCol="0" anchor="ctr"/>
            <a:lstStyle/>
            <a:p>
              <a:endParaRPr lang="en-US" sz="1350"/>
            </a:p>
          </p:txBody>
        </p:sp>
        <p:sp>
          <p:nvSpPr>
            <p:cNvPr id="92" name="Freeform: Shape 91">
              <a:extLst>
                <a:ext uri="{FF2B5EF4-FFF2-40B4-BE49-F238E27FC236}">
                  <a16:creationId xmlns:a16="http://schemas.microsoft.com/office/drawing/2014/main" id="{0F3089A6-F255-41DF-AE72-98922A80C9EC}"/>
                </a:ext>
              </a:extLst>
            </p:cNvPr>
            <p:cNvSpPr/>
            <p:nvPr/>
          </p:nvSpPr>
          <p:spPr>
            <a:xfrm>
              <a:off x="1047068" y="3307239"/>
              <a:ext cx="56844" cy="56842"/>
            </a:xfrm>
            <a:custGeom>
              <a:avLst/>
              <a:gdLst>
                <a:gd name="connsiteX0" fmla="*/ 524 w 56844"/>
                <a:gd name="connsiteY0" fmla="*/ 33830 h 56842"/>
                <a:gd name="connsiteX1" fmla="*/ 33827 w 56844"/>
                <a:gd name="connsiteY1" fmla="*/ 56318 h 56842"/>
                <a:gd name="connsiteX2" fmla="*/ 56319 w 56844"/>
                <a:gd name="connsiteY2" fmla="*/ 23013 h 56842"/>
                <a:gd name="connsiteX3" fmla="*/ 23015 w 56844"/>
                <a:gd name="connsiteY3" fmla="*/ 525 h 56842"/>
                <a:gd name="connsiteX4" fmla="*/ 524 w 56844"/>
                <a:gd name="connsiteY4" fmla="*/ 33830 h 56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44" h="56842">
                  <a:moveTo>
                    <a:pt x="524" y="33830"/>
                  </a:moveTo>
                  <a:cubicBezTo>
                    <a:pt x="3511" y="49237"/>
                    <a:pt x="18422" y="59305"/>
                    <a:pt x="33827" y="56318"/>
                  </a:cubicBezTo>
                  <a:cubicBezTo>
                    <a:pt x="49236" y="53331"/>
                    <a:pt x="59306" y="38422"/>
                    <a:pt x="56319" y="23013"/>
                  </a:cubicBezTo>
                  <a:cubicBezTo>
                    <a:pt x="53333" y="7606"/>
                    <a:pt x="38423" y="-2462"/>
                    <a:pt x="23015" y="525"/>
                  </a:cubicBezTo>
                  <a:cubicBezTo>
                    <a:pt x="7610" y="3512"/>
                    <a:pt x="-2461" y="18423"/>
                    <a:pt x="524" y="33830"/>
                  </a:cubicBezTo>
                  <a:close/>
                </a:path>
              </a:pathLst>
            </a:custGeom>
            <a:solidFill>
              <a:srgbClr val="BD1622"/>
            </a:solidFill>
            <a:ln w="1939" cap="flat">
              <a:noFill/>
              <a:prstDash val="solid"/>
              <a:round/>
            </a:ln>
          </p:spPr>
          <p:txBody>
            <a:bodyPr rtlCol="0" anchor="ctr"/>
            <a:lstStyle/>
            <a:p>
              <a:endParaRPr lang="en-US" sz="1350"/>
            </a:p>
          </p:txBody>
        </p:sp>
        <p:sp>
          <p:nvSpPr>
            <p:cNvPr id="94" name="Freeform: Shape 93">
              <a:extLst>
                <a:ext uri="{FF2B5EF4-FFF2-40B4-BE49-F238E27FC236}">
                  <a16:creationId xmlns:a16="http://schemas.microsoft.com/office/drawing/2014/main" id="{68B03E48-ED81-4963-BA5A-A6A69C8CBA16}"/>
                </a:ext>
              </a:extLst>
            </p:cNvPr>
            <p:cNvSpPr/>
            <p:nvPr/>
          </p:nvSpPr>
          <p:spPr>
            <a:xfrm>
              <a:off x="1054773" y="3308672"/>
              <a:ext cx="46324" cy="46324"/>
            </a:xfrm>
            <a:custGeom>
              <a:avLst/>
              <a:gdLst>
                <a:gd name="connsiteX0" fmla="*/ 428 w 46324"/>
                <a:gd name="connsiteY0" fmla="*/ 27570 h 46324"/>
                <a:gd name="connsiteX1" fmla="*/ 27568 w 46324"/>
                <a:gd name="connsiteY1" fmla="*/ 45899 h 46324"/>
                <a:gd name="connsiteX2" fmla="*/ 45897 w 46324"/>
                <a:gd name="connsiteY2" fmla="*/ 18756 h 46324"/>
                <a:gd name="connsiteX3" fmla="*/ 18755 w 46324"/>
                <a:gd name="connsiteY3" fmla="*/ 428 h 46324"/>
                <a:gd name="connsiteX4" fmla="*/ 428 w 46324"/>
                <a:gd name="connsiteY4" fmla="*/ 27570 h 46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24" h="46324">
                  <a:moveTo>
                    <a:pt x="428" y="27570"/>
                  </a:moveTo>
                  <a:cubicBezTo>
                    <a:pt x="2862" y="40123"/>
                    <a:pt x="15014" y="48329"/>
                    <a:pt x="27568" y="45899"/>
                  </a:cubicBezTo>
                  <a:cubicBezTo>
                    <a:pt x="40124" y="43465"/>
                    <a:pt x="48329" y="31312"/>
                    <a:pt x="45897" y="18756"/>
                  </a:cubicBezTo>
                  <a:cubicBezTo>
                    <a:pt x="43465" y="6199"/>
                    <a:pt x="31313" y="-2006"/>
                    <a:pt x="18755" y="428"/>
                  </a:cubicBezTo>
                  <a:cubicBezTo>
                    <a:pt x="6201" y="2862"/>
                    <a:pt x="-2008" y="15010"/>
                    <a:pt x="428" y="27570"/>
                  </a:cubicBezTo>
                  <a:close/>
                </a:path>
              </a:pathLst>
            </a:custGeom>
            <a:solidFill>
              <a:srgbClr val="E5332A"/>
            </a:solidFill>
            <a:ln w="1939" cap="flat">
              <a:noFill/>
              <a:prstDash val="solid"/>
              <a:round/>
            </a:ln>
          </p:spPr>
          <p:txBody>
            <a:bodyPr rtlCol="0" anchor="ctr"/>
            <a:lstStyle/>
            <a:p>
              <a:endParaRPr lang="en-US" sz="1350"/>
            </a:p>
          </p:txBody>
        </p:sp>
        <p:sp>
          <p:nvSpPr>
            <p:cNvPr id="96" name="Freeform: Shape 95">
              <a:extLst>
                <a:ext uri="{FF2B5EF4-FFF2-40B4-BE49-F238E27FC236}">
                  <a16:creationId xmlns:a16="http://schemas.microsoft.com/office/drawing/2014/main" id="{A4E1AF6C-7094-42FF-8E42-4B55CAB4DDC4}"/>
                </a:ext>
              </a:extLst>
            </p:cNvPr>
            <p:cNvSpPr/>
            <p:nvPr/>
          </p:nvSpPr>
          <p:spPr>
            <a:xfrm>
              <a:off x="1076495" y="3319547"/>
              <a:ext cx="11457" cy="11458"/>
            </a:xfrm>
            <a:custGeom>
              <a:avLst/>
              <a:gdLst>
                <a:gd name="connsiteX0" fmla="*/ 106 w 11457"/>
                <a:gd name="connsiteY0" fmla="*/ 6819 h 11458"/>
                <a:gd name="connsiteX1" fmla="*/ 6818 w 11457"/>
                <a:gd name="connsiteY1" fmla="*/ 11353 h 11458"/>
                <a:gd name="connsiteX2" fmla="*/ 11352 w 11457"/>
                <a:gd name="connsiteY2" fmla="*/ 4639 h 11458"/>
                <a:gd name="connsiteX3" fmla="*/ 4638 w 11457"/>
                <a:gd name="connsiteY3" fmla="*/ 106 h 11458"/>
                <a:gd name="connsiteX4" fmla="*/ 106 w 11457"/>
                <a:gd name="connsiteY4" fmla="*/ 6819 h 11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57" h="11458">
                  <a:moveTo>
                    <a:pt x="106" y="6819"/>
                  </a:moveTo>
                  <a:cubicBezTo>
                    <a:pt x="706" y="9924"/>
                    <a:pt x="3713" y="11953"/>
                    <a:pt x="6818" y="11353"/>
                  </a:cubicBezTo>
                  <a:cubicBezTo>
                    <a:pt x="9927" y="10753"/>
                    <a:pt x="11954" y="7744"/>
                    <a:pt x="11352" y="4639"/>
                  </a:cubicBezTo>
                  <a:cubicBezTo>
                    <a:pt x="10751" y="1532"/>
                    <a:pt x="7745" y="-496"/>
                    <a:pt x="4638" y="106"/>
                  </a:cubicBezTo>
                  <a:cubicBezTo>
                    <a:pt x="1533" y="706"/>
                    <a:pt x="-498" y="3711"/>
                    <a:pt x="106" y="6819"/>
                  </a:cubicBezTo>
                  <a:close/>
                </a:path>
              </a:pathLst>
            </a:custGeom>
            <a:solidFill>
              <a:srgbClr val="FFFFFF"/>
            </a:solidFill>
            <a:ln w="1939" cap="flat">
              <a:noFill/>
              <a:prstDash val="solid"/>
              <a:round/>
            </a:ln>
          </p:spPr>
          <p:txBody>
            <a:bodyPr rtlCol="0" anchor="ctr"/>
            <a:lstStyle/>
            <a:p>
              <a:endParaRPr lang="en-US" sz="1350"/>
            </a:p>
          </p:txBody>
        </p:sp>
      </p:grpSp>
      <p:grpSp>
        <p:nvGrpSpPr>
          <p:cNvPr id="97" name="Group 96">
            <a:extLst>
              <a:ext uri="{FF2B5EF4-FFF2-40B4-BE49-F238E27FC236}">
                <a16:creationId xmlns:a16="http://schemas.microsoft.com/office/drawing/2014/main" id="{32A461DD-1C02-4109-9891-DBFC5E9D5C30}"/>
              </a:ext>
            </a:extLst>
          </p:cNvPr>
          <p:cNvGrpSpPr/>
          <p:nvPr/>
        </p:nvGrpSpPr>
        <p:grpSpPr>
          <a:xfrm>
            <a:off x="3982735" y="3159073"/>
            <a:ext cx="456815" cy="337126"/>
            <a:chOff x="1790699" y="252392"/>
            <a:chExt cx="8601248" cy="6347652"/>
          </a:xfrm>
        </p:grpSpPr>
        <p:sp>
          <p:nvSpPr>
            <p:cNvPr id="98" name="Freeform: Shape 97">
              <a:extLst>
                <a:ext uri="{FF2B5EF4-FFF2-40B4-BE49-F238E27FC236}">
                  <a16:creationId xmlns:a16="http://schemas.microsoft.com/office/drawing/2014/main" id="{37C54449-B8F5-407F-95C6-8E612ACBEFFC}"/>
                </a:ext>
              </a:extLst>
            </p:cNvPr>
            <p:cNvSpPr/>
            <p:nvPr/>
          </p:nvSpPr>
          <p:spPr>
            <a:xfrm>
              <a:off x="3637551" y="252392"/>
              <a:ext cx="5550301" cy="867572"/>
            </a:xfrm>
            <a:custGeom>
              <a:avLst/>
              <a:gdLst>
                <a:gd name="connsiteX0" fmla="*/ 0 w 5550301"/>
                <a:gd name="connsiteY0" fmla="*/ 614645 h 867572"/>
                <a:gd name="connsiteX1" fmla="*/ 2192141 w 5550301"/>
                <a:gd name="connsiteY1" fmla="*/ 24453 h 867572"/>
                <a:gd name="connsiteX2" fmla="*/ 5550302 w 5550301"/>
                <a:gd name="connsiteY2" fmla="*/ 372750 h 867572"/>
                <a:gd name="connsiteX3" fmla="*/ 5311701 w 5550301"/>
                <a:gd name="connsiteY3" fmla="*/ 614645 h 867572"/>
                <a:gd name="connsiteX4" fmla="*/ 1011754 w 5550301"/>
                <a:gd name="connsiteY4" fmla="*/ 867573 h 867572"/>
                <a:gd name="connsiteX5" fmla="*/ 0 w 5550301"/>
                <a:gd name="connsiteY5" fmla="*/ 614645 h 86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50301" h="867572">
                  <a:moveTo>
                    <a:pt x="0" y="614645"/>
                  </a:moveTo>
                  <a:cubicBezTo>
                    <a:pt x="0" y="614645"/>
                    <a:pt x="337265" y="-144181"/>
                    <a:pt x="2192141" y="24453"/>
                  </a:cubicBezTo>
                  <a:cubicBezTo>
                    <a:pt x="4047018" y="193083"/>
                    <a:pt x="5255185" y="-231533"/>
                    <a:pt x="5550302" y="372750"/>
                  </a:cubicBezTo>
                  <a:lnTo>
                    <a:pt x="5311701" y="614645"/>
                  </a:lnTo>
                  <a:lnTo>
                    <a:pt x="1011754" y="867573"/>
                  </a:lnTo>
                  <a:lnTo>
                    <a:pt x="0" y="614645"/>
                  </a:lnTo>
                  <a:close/>
                </a:path>
              </a:pathLst>
            </a:custGeom>
            <a:solidFill>
              <a:srgbClr val="FFF4EB"/>
            </a:solidFill>
            <a:ln w="39688" cap="flat">
              <a:noFill/>
              <a:prstDash val="solid"/>
              <a:round/>
            </a:ln>
          </p:spPr>
          <p:txBody>
            <a:bodyPr rtlCol="0" anchor="ctr"/>
            <a:lstStyle/>
            <a:p>
              <a:endParaRPr lang="en-US" sz="1350"/>
            </a:p>
          </p:txBody>
        </p:sp>
        <p:sp>
          <p:nvSpPr>
            <p:cNvPr id="99" name="Freeform: Shape 98">
              <a:extLst>
                <a:ext uri="{FF2B5EF4-FFF2-40B4-BE49-F238E27FC236}">
                  <a16:creationId xmlns:a16="http://schemas.microsoft.com/office/drawing/2014/main" id="{993AB9D9-5BD7-42B6-80D1-C7B66062385A}"/>
                </a:ext>
              </a:extLst>
            </p:cNvPr>
            <p:cNvSpPr/>
            <p:nvPr/>
          </p:nvSpPr>
          <p:spPr>
            <a:xfrm>
              <a:off x="1790699" y="480476"/>
              <a:ext cx="5758801" cy="6093110"/>
            </a:xfrm>
            <a:custGeom>
              <a:avLst/>
              <a:gdLst>
                <a:gd name="connsiteX0" fmla="*/ 5685867 w 5758801"/>
                <a:gd name="connsiteY0" fmla="*/ 67949 h 6093110"/>
                <a:gd name="connsiteX1" fmla="*/ 1320239 w 5758801"/>
                <a:gd name="connsiteY1" fmla="*/ 570673 h 6093110"/>
                <a:gd name="connsiteX2" fmla="*/ 57977 w 5758801"/>
                <a:gd name="connsiteY2" fmla="*/ 5473948 h 6093110"/>
                <a:gd name="connsiteX3" fmla="*/ 253239 w 5758801"/>
                <a:gd name="connsiteY3" fmla="*/ 5925552 h 6093110"/>
                <a:gd name="connsiteX4" fmla="*/ 1254119 w 5758801"/>
                <a:gd name="connsiteY4" fmla="*/ 5610990 h 6093110"/>
                <a:gd name="connsiteX5" fmla="*/ 2886269 w 5758801"/>
                <a:gd name="connsiteY5" fmla="*/ 4402661 h 6093110"/>
                <a:gd name="connsiteX6" fmla="*/ 5685867 w 5758801"/>
                <a:gd name="connsiteY6" fmla="*/ 67949 h 609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8801" h="6093110">
                  <a:moveTo>
                    <a:pt x="5685867" y="67949"/>
                  </a:moveTo>
                  <a:cubicBezTo>
                    <a:pt x="5685867" y="67949"/>
                    <a:pt x="1938571" y="-272489"/>
                    <a:pt x="1320239" y="570673"/>
                  </a:cubicBezTo>
                  <a:cubicBezTo>
                    <a:pt x="712940" y="1398833"/>
                    <a:pt x="-245672" y="2463529"/>
                    <a:pt x="57977" y="5473948"/>
                  </a:cubicBezTo>
                  <a:cubicBezTo>
                    <a:pt x="74844" y="5641031"/>
                    <a:pt x="139852" y="5801727"/>
                    <a:pt x="253239" y="5925552"/>
                  </a:cubicBezTo>
                  <a:cubicBezTo>
                    <a:pt x="439612" y="6129030"/>
                    <a:pt x="772908" y="6264046"/>
                    <a:pt x="1254119" y="5610990"/>
                  </a:cubicBezTo>
                  <a:cubicBezTo>
                    <a:pt x="2041083" y="4542958"/>
                    <a:pt x="2380372" y="4683730"/>
                    <a:pt x="2886269" y="4402661"/>
                  </a:cubicBezTo>
                  <a:cubicBezTo>
                    <a:pt x="3392166" y="4121595"/>
                    <a:pt x="6248001" y="4564824"/>
                    <a:pt x="5685867" y="67949"/>
                  </a:cubicBezTo>
                  <a:close/>
                </a:path>
              </a:pathLst>
            </a:custGeom>
            <a:solidFill>
              <a:srgbClr val="EF686C"/>
            </a:solidFill>
            <a:ln w="39688" cap="flat">
              <a:noFill/>
              <a:prstDash val="solid"/>
              <a:round/>
            </a:ln>
          </p:spPr>
          <p:txBody>
            <a:bodyPr rtlCol="0" anchor="ctr"/>
            <a:lstStyle/>
            <a:p>
              <a:endParaRPr lang="en-US" sz="1350"/>
            </a:p>
          </p:txBody>
        </p:sp>
        <p:sp>
          <p:nvSpPr>
            <p:cNvPr id="101" name="Freeform: Shape 100">
              <a:extLst>
                <a:ext uri="{FF2B5EF4-FFF2-40B4-BE49-F238E27FC236}">
                  <a16:creationId xmlns:a16="http://schemas.microsoft.com/office/drawing/2014/main" id="{CDC1C506-334C-447A-A0E0-4032533CBF48}"/>
                </a:ext>
              </a:extLst>
            </p:cNvPr>
            <p:cNvSpPr/>
            <p:nvPr/>
          </p:nvSpPr>
          <p:spPr>
            <a:xfrm>
              <a:off x="6490251" y="521532"/>
              <a:ext cx="3901696" cy="3732042"/>
            </a:xfrm>
            <a:custGeom>
              <a:avLst/>
              <a:gdLst>
                <a:gd name="connsiteX0" fmla="*/ 962344 w 3901696"/>
                <a:gd name="connsiteY0" fmla="*/ 22290 h 3732042"/>
                <a:gd name="connsiteX1" fmla="*/ 3637323 w 3901696"/>
                <a:gd name="connsiteY1" fmla="*/ 215607 h 3732042"/>
                <a:gd name="connsiteX2" fmla="*/ 3850167 w 3901696"/>
                <a:gd name="connsiteY2" fmla="*/ 788377 h 3732042"/>
                <a:gd name="connsiteX3" fmla="*/ 3024508 w 3901696"/>
                <a:gd name="connsiteY3" fmla="*/ 1792869 h 3732042"/>
                <a:gd name="connsiteX4" fmla="*/ 1695531 w 3901696"/>
                <a:gd name="connsiteY4" fmla="*/ 3352629 h 3732042"/>
                <a:gd name="connsiteX5" fmla="*/ 0 w 3901696"/>
                <a:gd name="connsiteY5" fmla="*/ 3732042 h 3732042"/>
                <a:gd name="connsiteX6" fmla="*/ 962344 w 3901696"/>
                <a:gd name="connsiteY6" fmla="*/ 22290 h 373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1696" h="3732042">
                  <a:moveTo>
                    <a:pt x="962344" y="22290"/>
                  </a:moveTo>
                  <a:cubicBezTo>
                    <a:pt x="962344" y="22290"/>
                    <a:pt x="2742806" y="-96812"/>
                    <a:pt x="3637323" y="215607"/>
                  </a:cubicBezTo>
                  <a:cubicBezTo>
                    <a:pt x="3870646" y="297087"/>
                    <a:pt x="3971134" y="572916"/>
                    <a:pt x="3850167" y="788377"/>
                  </a:cubicBezTo>
                  <a:cubicBezTo>
                    <a:pt x="3641450" y="1160131"/>
                    <a:pt x="3293867" y="1710279"/>
                    <a:pt x="3024508" y="1792869"/>
                  </a:cubicBezTo>
                  <a:cubicBezTo>
                    <a:pt x="2612075" y="1919353"/>
                    <a:pt x="2428758" y="3015404"/>
                    <a:pt x="1695531" y="3352629"/>
                  </a:cubicBezTo>
                  <a:cubicBezTo>
                    <a:pt x="962344" y="3689894"/>
                    <a:pt x="0" y="3732042"/>
                    <a:pt x="0" y="3732042"/>
                  </a:cubicBezTo>
                  <a:lnTo>
                    <a:pt x="962344" y="22290"/>
                  </a:lnTo>
                  <a:close/>
                </a:path>
              </a:pathLst>
            </a:custGeom>
            <a:solidFill>
              <a:srgbClr val="EF686C"/>
            </a:solidFill>
            <a:ln w="39688" cap="flat">
              <a:noFill/>
              <a:prstDash val="solid"/>
              <a:round/>
            </a:ln>
          </p:spPr>
          <p:txBody>
            <a:bodyPr rtlCol="0" anchor="ctr"/>
            <a:lstStyle/>
            <a:p>
              <a:endParaRPr lang="en-US" sz="1350"/>
            </a:p>
          </p:txBody>
        </p:sp>
        <p:sp>
          <p:nvSpPr>
            <p:cNvPr id="102" name="Freeform: Shape 101">
              <a:extLst>
                <a:ext uri="{FF2B5EF4-FFF2-40B4-BE49-F238E27FC236}">
                  <a16:creationId xmlns:a16="http://schemas.microsoft.com/office/drawing/2014/main" id="{CFA7EF05-AA85-43D7-AF06-B943C1895994}"/>
                </a:ext>
              </a:extLst>
            </p:cNvPr>
            <p:cNvSpPr/>
            <p:nvPr/>
          </p:nvSpPr>
          <p:spPr>
            <a:xfrm>
              <a:off x="1790780" y="1094804"/>
              <a:ext cx="8598017" cy="5505240"/>
            </a:xfrm>
            <a:custGeom>
              <a:avLst/>
              <a:gdLst>
                <a:gd name="connsiteX0" fmla="*/ 8508720 w 8598017"/>
                <a:gd name="connsiteY0" fmla="*/ 125690 h 5505240"/>
                <a:gd name="connsiteX1" fmla="*/ 7750451 w 8598017"/>
                <a:gd name="connsiteY1" fmla="*/ 769818 h 5505240"/>
                <a:gd name="connsiteX2" fmla="*/ 6421475 w 8598017"/>
                <a:gd name="connsiteY2" fmla="*/ 2329579 h 5505240"/>
                <a:gd name="connsiteX3" fmla="*/ 4725904 w 8598017"/>
                <a:gd name="connsiteY3" fmla="*/ 2708991 h 5505240"/>
                <a:gd name="connsiteX4" fmla="*/ 4728008 w 8598017"/>
                <a:gd name="connsiteY4" fmla="*/ 2700896 h 5505240"/>
                <a:gd name="connsiteX5" fmla="*/ 2912660 w 8598017"/>
                <a:gd name="connsiteY5" fmla="*/ 3338554 h 5505240"/>
                <a:gd name="connsiteX6" fmla="*/ 1280510 w 8598017"/>
                <a:gd name="connsiteY6" fmla="*/ 4546882 h 5505240"/>
                <a:gd name="connsiteX7" fmla="*/ 279630 w 8598017"/>
                <a:gd name="connsiteY7" fmla="*/ 4861444 h 5505240"/>
                <a:gd name="connsiteX8" fmla="*/ 84368 w 8598017"/>
                <a:gd name="connsiteY8" fmla="*/ 4409841 h 5505240"/>
                <a:gd name="connsiteX9" fmla="*/ 29440 w 8598017"/>
                <a:gd name="connsiteY9" fmla="*/ 3094240 h 5505240"/>
                <a:gd name="connsiteX10" fmla="*/ 57936 w 8598017"/>
                <a:gd name="connsiteY10" fmla="*/ 4886092 h 5505240"/>
                <a:gd name="connsiteX11" fmla="*/ 253159 w 8598017"/>
                <a:gd name="connsiteY11" fmla="*/ 5337695 h 5505240"/>
                <a:gd name="connsiteX12" fmla="*/ 1254039 w 8598017"/>
                <a:gd name="connsiteY12" fmla="*/ 5023133 h 5505240"/>
                <a:gd name="connsiteX13" fmla="*/ 2886188 w 8598017"/>
                <a:gd name="connsiteY13" fmla="*/ 3814804 h 5505240"/>
                <a:gd name="connsiteX14" fmla="*/ 4701536 w 8598017"/>
                <a:gd name="connsiteY14" fmla="*/ 3177146 h 5505240"/>
                <a:gd name="connsiteX15" fmla="*/ 4699472 w 8598017"/>
                <a:gd name="connsiteY15" fmla="*/ 3185242 h 5505240"/>
                <a:gd name="connsiteX16" fmla="*/ 6395042 w 8598017"/>
                <a:gd name="connsiteY16" fmla="*/ 2805829 h 5505240"/>
                <a:gd name="connsiteX17" fmla="*/ 7723980 w 8598017"/>
                <a:gd name="connsiteY17" fmla="*/ 1246068 h 5505240"/>
                <a:gd name="connsiteX18" fmla="*/ 8395532 w 8598017"/>
                <a:gd name="connsiteY18" fmla="*/ 503516 h 5505240"/>
                <a:gd name="connsiteX19" fmla="*/ 8598017 w 8598017"/>
                <a:gd name="connsiteY19" fmla="*/ 0 h 5505240"/>
                <a:gd name="connsiteX20" fmla="*/ 8508720 w 8598017"/>
                <a:gd name="connsiteY20" fmla="*/ 125690 h 550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98017" h="5505240">
                  <a:moveTo>
                    <a:pt x="8508720" y="125690"/>
                  </a:moveTo>
                  <a:cubicBezTo>
                    <a:pt x="8306235" y="453192"/>
                    <a:pt x="7961073" y="705207"/>
                    <a:pt x="7750451" y="769818"/>
                  </a:cubicBezTo>
                  <a:cubicBezTo>
                    <a:pt x="7338018" y="896264"/>
                    <a:pt x="7154702" y="1992315"/>
                    <a:pt x="6421475" y="2329579"/>
                  </a:cubicBezTo>
                  <a:cubicBezTo>
                    <a:pt x="5688247" y="2666843"/>
                    <a:pt x="4725904" y="2708991"/>
                    <a:pt x="4725904" y="2708991"/>
                  </a:cubicBezTo>
                  <a:lnTo>
                    <a:pt x="4728008" y="2700896"/>
                  </a:lnTo>
                  <a:cubicBezTo>
                    <a:pt x="4033992" y="3240091"/>
                    <a:pt x="3173764" y="3193458"/>
                    <a:pt x="2912660" y="3338554"/>
                  </a:cubicBezTo>
                  <a:cubicBezTo>
                    <a:pt x="2406763" y="3619583"/>
                    <a:pt x="2067434" y="3478851"/>
                    <a:pt x="1280510" y="4546882"/>
                  </a:cubicBezTo>
                  <a:cubicBezTo>
                    <a:pt x="799299" y="5199900"/>
                    <a:pt x="466003" y="5064923"/>
                    <a:pt x="279630" y="4861444"/>
                  </a:cubicBezTo>
                  <a:cubicBezTo>
                    <a:pt x="166203" y="4737619"/>
                    <a:pt x="101235" y="4576885"/>
                    <a:pt x="84368" y="4409841"/>
                  </a:cubicBezTo>
                  <a:cubicBezTo>
                    <a:pt x="35235" y="3922676"/>
                    <a:pt x="19320" y="3486747"/>
                    <a:pt x="29440" y="3094240"/>
                  </a:cubicBezTo>
                  <a:cubicBezTo>
                    <a:pt x="-14891" y="3602240"/>
                    <a:pt x="-12073" y="4192393"/>
                    <a:pt x="57936" y="4886092"/>
                  </a:cubicBezTo>
                  <a:cubicBezTo>
                    <a:pt x="74763" y="5053136"/>
                    <a:pt x="139771" y="5213870"/>
                    <a:pt x="253159" y="5337695"/>
                  </a:cubicBezTo>
                  <a:cubicBezTo>
                    <a:pt x="439532" y="5541173"/>
                    <a:pt x="772827" y="5676151"/>
                    <a:pt x="1254039" y="5023133"/>
                  </a:cubicBezTo>
                  <a:cubicBezTo>
                    <a:pt x="2041003" y="3955101"/>
                    <a:pt x="2380291" y="4095834"/>
                    <a:pt x="2886188" y="3814804"/>
                  </a:cubicBezTo>
                  <a:cubicBezTo>
                    <a:pt x="3147333" y="3669709"/>
                    <a:pt x="4007520" y="3716341"/>
                    <a:pt x="4701536" y="3177146"/>
                  </a:cubicBezTo>
                  <a:lnTo>
                    <a:pt x="4699472" y="3185242"/>
                  </a:lnTo>
                  <a:cubicBezTo>
                    <a:pt x="4699472" y="3185242"/>
                    <a:pt x="5661816" y="3143093"/>
                    <a:pt x="6395042" y="2805829"/>
                  </a:cubicBezTo>
                  <a:cubicBezTo>
                    <a:pt x="7128230" y="2468565"/>
                    <a:pt x="7311547" y="1372514"/>
                    <a:pt x="7723980" y="1246068"/>
                  </a:cubicBezTo>
                  <a:cubicBezTo>
                    <a:pt x="7934602" y="1181457"/>
                    <a:pt x="8193047" y="831018"/>
                    <a:pt x="8395532" y="503516"/>
                  </a:cubicBezTo>
                  <a:cubicBezTo>
                    <a:pt x="8500228" y="334168"/>
                    <a:pt x="8578173" y="195143"/>
                    <a:pt x="8598017" y="0"/>
                  </a:cubicBezTo>
                  <a:cubicBezTo>
                    <a:pt x="8589127" y="18136"/>
                    <a:pt x="8519635" y="108070"/>
                    <a:pt x="8508720" y="125690"/>
                  </a:cubicBezTo>
                  <a:close/>
                </a:path>
              </a:pathLst>
            </a:custGeom>
            <a:solidFill>
              <a:srgbClr val="D7555F"/>
            </a:solidFill>
            <a:ln w="39688" cap="flat">
              <a:noFill/>
              <a:prstDash val="solid"/>
              <a:round/>
            </a:ln>
          </p:spPr>
          <p:txBody>
            <a:bodyPr rtlCol="0" anchor="ctr"/>
            <a:lstStyle/>
            <a:p>
              <a:endParaRPr lang="en-US" sz="1350"/>
            </a:p>
          </p:txBody>
        </p:sp>
        <p:sp>
          <p:nvSpPr>
            <p:cNvPr id="107" name="Freeform: Shape 106">
              <a:extLst>
                <a:ext uri="{FF2B5EF4-FFF2-40B4-BE49-F238E27FC236}">
                  <a16:creationId xmlns:a16="http://schemas.microsoft.com/office/drawing/2014/main" id="{A5416A88-823A-4CAB-A894-F7E45B668326}"/>
                </a:ext>
              </a:extLst>
            </p:cNvPr>
            <p:cNvSpPr/>
            <p:nvPr/>
          </p:nvSpPr>
          <p:spPr>
            <a:xfrm>
              <a:off x="5763414" y="429362"/>
              <a:ext cx="1666916" cy="4196766"/>
            </a:xfrm>
            <a:custGeom>
              <a:avLst/>
              <a:gdLst>
                <a:gd name="connsiteX0" fmla="*/ 0 w 1666916"/>
                <a:gd name="connsiteY0" fmla="*/ 0 h 4196766"/>
                <a:gd name="connsiteX1" fmla="*/ 762874 w 1666916"/>
                <a:gd name="connsiteY1" fmla="*/ 1593654 h 4196766"/>
                <a:gd name="connsiteX2" fmla="*/ 669171 w 1666916"/>
                <a:gd name="connsiteY2" fmla="*/ 3991971 h 4196766"/>
                <a:gd name="connsiteX3" fmla="*/ 1006436 w 1666916"/>
                <a:gd name="connsiteY3" fmla="*/ 3935773 h 4196766"/>
                <a:gd name="connsiteX4" fmla="*/ 1666916 w 1666916"/>
                <a:gd name="connsiteY4" fmla="*/ 90012 h 4196766"/>
                <a:gd name="connsiteX5" fmla="*/ 0 w 1666916"/>
                <a:gd name="connsiteY5" fmla="*/ 0 h 4196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916" h="4196766">
                  <a:moveTo>
                    <a:pt x="0" y="0"/>
                  </a:moveTo>
                  <a:cubicBezTo>
                    <a:pt x="0" y="0"/>
                    <a:pt x="725409" y="609958"/>
                    <a:pt x="762874" y="1593654"/>
                  </a:cubicBezTo>
                  <a:cubicBezTo>
                    <a:pt x="792242" y="2364942"/>
                    <a:pt x="669171" y="3991971"/>
                    <a:pt x="669171" y="3991971"/>
                  </a:cubicBezTo>
                  <a:cubicBezTo>
                    <a:pt x="648216" y="4286254"/>
                    <a:pt x="1045092" y="4259782"/>
                    <a:pt x="1006436" y="3935773"/>
                  </a:cubicBezTo>
                  <a:cubicBezTo>
                    <a:pt x="1006436" y="3935773"/>
                    <a:pt x="894041" y="455375"/>
                    <a:pt x="1666916" y="90012"/>
                  </a:cubicBezTo>
                  <a:lnTo>
                    <a:pt x="0" y="0"/>
                  </a:lnTo>
                  <a:close/>
                </a:path>
              </a:pathLst>
            </a:custGeom>
            <a:solidFill>
              <a:srgbClr val="FFF4EB"/>
            </a:solidFill>
            <a:ln w="39688" cap="flat">
              <a:noFill/>
              <a:prstDash val="solid"/>
              <a:round/>
            </a:ln>
          </p:spPr>
          <p:txBody>
            <a:bodyPr rtlCol="0" anchor="ctr"/>
            <a:lstStyle/>
            <a:p>
              <a:endParaRPr lang="en-US" sz="1350"/>
            </a:p>
          </p:txBody>
        </p:sp>
        <p:sp>
          <p:nvSpPr>
            <p:cNvPr id="108" name="Freeform: Shape 107">
              <a:extLst>
                <a:ext uri="{FF2B5EF4-FFF2-40B4-BE49-F238E27FC236}">
                  <a16:creationId xmlns:a16="http://schemas.microsoft.com/office/drawing/2014/main" id="{AA1E912E-FBF4-4735-931B-0F8575775C53}"/>
                </a:ext>
              </a:extLst>
            </p:cNvPr>
            <p:cNvSpPr/>
            <p:nvPr/>
          </p:nvSpPr>
          <p:spPr>
            <a:xfrm>
              <a:off x="2958324" y="1070554"/>
              <a:ext cx="1268842" cy="1047395"/>
            </a:xfrm>
            <a:custGeom>
              <a:avLst/>
              <a:gdLst>
                <a:gd name="connsiteX0" fmla="*/ 63595 w 1268842"/>
                <a:gd name="connsiteY0" fmla="*/ 1047396 h 1047395"/>
                <a:gd name="connsiteX1" fmla="*/ 8111 w 1268842"/>
                <a:gd name="connsiteY1" fmla="*/ 958099 h 1047395"/>
                <a:gd name="connsiteX2" fmla="*/ 1068602 w 1268842"/>
                <a:gd name="connsiteY2" fmla="*/ 0 h 1047395"/>
                <a:gd name="connsiteX3" fmla="*/ 1226121 w 1268842"/>
                <a:gd name="connsiteY3" fmla="*/ 17821 h 1047395"/>
                <a:gd name="connsiteX4" fmla="*/ 1208977 w 1268842"/>
                <a:gd name="connsiteY4" fmla="*/ 134263 h 1047395"/>
                <a:gd name="connsiteX5" fmla="*/ 1194491 w 1268842"/>
                <a:gd name="connsiteY5" fmla="*/ 132637 h 1047395"/>
                <a:gd name="connsiteX6" fmla="*/ 1064712 w 1268842"/>
                <a:gd name="connsiteY6" fmla="*/ 117992 h 1047395"/>
                <a:gd name="connsiteX7" fmla="*/ 110942 w 1268842"/>
                <a:gd name="connsiteY7" fmla="*/ 1018185 h 1047395"/>
                <a:gd name="connsiteX8" fmla="*/ 63595 w 1268842"/>
                <a:gd name="connsiteY8" fmla="*/ 1047396 h 1047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8842" h="1047395">
                  <a:moveTo>
                    <a:pt x="63595" y="1047396"/>
                  </a:moveTo>
                  <a:cubicBezTo>
                    <a:pt x="23312" y="1047396"/>
                    <a:pt x="-17844" y="1004373"/>
                    <a:pt x="8111" y="958099"/>
                  </a:cubicBezTo>
                  <a:cubicBezTo>
                    <a:pt x="229567" y="563445"/>
                    <a:pt x="563379" y="0"/>
                    <a:pt x="1068602" y="0"/>
                  </a:cubicBezTo>
                  <a:cubicBezTo>
                    <a:pt x="1119362" y="0"/>
                    <a:pt x="1171868" y="5717"/>
                    <a:pt x="1226121" y="17821"/>
                  </a:cubicBezTo>
                  <a:cubicBezTo>
                    <a:pt x="1295971" y="33419"/>
                    <a:pt x="1272953" y="134304"/>
                    <a:pt x="1208977" y="134263"/>
                  </a:cubicBezTo>
                  <a:cubicBezTo>
                    <a:pt x="1204373" y="134263"/>
                    <a:pt x="1199491" y="133747"/>
                    <a:pt x="1194491" y="132637"/>
                  </a:cubicBezTo>
                  <a:cubicBezTo>
                    <a:pt x="1149922" y="122674"/>
                    <a:pt x="1106662" y="117992"/>
                    <a:pt x="1064712" y="117992"/>
                  </a:cubicBezTo>
                  <a:cubicBezTo>
                    <a:pt x="609020" y="117992"/>
                    <a:pt x="306045" y="670442"/>
                    <a:pt x="110942" y="1018185"/>
                  </a:cubicBezTo>
                  <a:cubicBezTo>
                    <a:pt x="99353" y="1038823"/>
                    <a:pt x="81573" y="1047396"/>
                    <a:pt x="63595" y="1047396"/>
                  </a:cubicBezTo>
                  <a:close/>
                </a:path>
              </a:pathLst>
            </a:custGeom>
            <a:solidFill>
              <a:srgbClr val="F4BCBD"/>
            </a:solidFill>
            <a:ln w="39688" cap="flat">
              <a:noFill/>
              <a:prstDash val="solid"/>
              <a:round/>
            </a:ln>
          </p:spPr>
          <p:txBody>
            <a:bodyPr rtlCol="0" anchor="ctr"/>
            <a:lstStyle/>
            <a:p>
              <a:endParaRPr lang="en-US" sz="1350"/>
            </a:p>
          </p:txBody>
        </p:sp>
      </p:grpSp>
      <p:grpSp>
        <p:nvGrpSpPr>
          <p:cNvPr id="109" name="Group 108">
            <a:extLst>
              <a:ext uri="{FF2B5EF4-FFF2-40B4-BE49-F238E27FC236}">
                <a16:creationId xmlns:a16="http://schemas.microsoft.com/office/drawing/2014/main" id="{CCBD6D7D-0667-4CA3-8511-656BA4AD04A6}"/>
              </a:ext>
            </a:extLst>
          </p:cNvPr>
          <p:cNvGrpSpPr/>
          <p:nvPr/>
        </p:nvGrpSpPr>
        <p:grpSpPr>
          <a:xfrm>
            <a:off x="5883778" y="3094050"/>
            <a:ext cx="333689" cy="467173"/>
            <a:chOff x="12581301" y="3487438"/>
            <a:chExt cx="561014" cy="785435"/>
          </a:xfrm>
        </p:grpSpPr>
        <p:sp>
          <p:nvSpPr>
            <p:cNvPr id="115" name="Freeform: Shape 114">
              <a:extLst>
                <a:ext uri="{FF2B5EF4-FFF2-40B4-BE49-F238E27FC236}">
                  <a16:creationId xmlns:a16="http://schemas.microsoft.com/office/drawing/2014/main" id="{87A34D3B-A9AA-4373-83AC-BA75E3957D73}"/>
                </a:ext>
              </a:extLst>
            </p:cNvPr>
            <p:cNvSpPr/>
            <p:nvPr/>
          </p:nvSpPr>
          <p:spPr>
            <a:xfrm>
              <a:off x="12593581" y="3499718"/>
              <a:ext cx="548734" cy="773155"/>
            </a:xfrm>
            <a:custGeom>
              <a:avLst/>
              <a:gdLst>
                <a:gd name="connsiteX0" fmla="*/ 444771 w 1222872"/>
                <a:gd name="connsiteY0" fmla="*/ 847703 h 1723001"/>
                <a:gd name="connsiteX1" fmla="*/ 227682 w 1222872"/>
                <a:gd name="connsiteY1" fmla="*/ 969312 h 1723001"/>
                <a:gd name="connsiteX2" fmla="*/ 170746 w 1222872"/>
                <a:gd name="connsiteY2" fmla="*/ 710911 h 1723001"/>
                <a:gd name="connsiteX3" fmla="*/ 404759 w 1222872"/>
                <a:gd name="connsiteY3" fmla="*/ 617045 h 1723001"/>
                <a:gd name="connsiteX4" fmla="*/ 444771 w 1222872"/>
                <a:gd name="connsiteY4" fmla="*/ 847703 h 1723001"/>
                <a:gd name="connsiteX5" fmla="*/ 603184 w 1222872"/>
                <a:gd name="connsiteY5" fmla="*/ 955451 h 1723001"/>
                <a:gd name="connsiteX6" fmla="*/ 706696 w 1222872"/>
                <a:gd name="connsiteY6" fmla="*/ 1020523 h 1723001"/>
                <a:gd name="connsiteX7" fmla="*/ 702439 w 1222872"/>
                <a:gd name="connsiteY7" fmla="*/ 1147186 h 1723001"/>
                <a:gd name="connsiteX8" fmla="*/ 611845 w 1222872"/>
                <a:gd name="connsiteY8" fmla="*/ 1112165 h 1723001"/>
                <a:gd name="connsiteX9" fmla="*/ 518924 w 1222872"/>
                <a:gd name="connsiteY9" fmla="*/ 1149241 h 1723001"/>
                <a:gd name="connsiteX10" fmla="*/ 515338 w 1222872"/>
                <a:gd name="connsiteY10" fmla="*/ 1022557 h 1723001"/>
                <a:gd name="connsiteX11" fmla="*/ 603184 w 1222872"/>
                <a:gd name="connsiteY11" fmla="*/ 955451 h 1723001"/>
                <a:gd name="connsiteX12" fmla="*/ 816205 w 1222872"/>
                <a:gd name="connsiteY12" fmla="*/ 620988 h 1723001"/>
                <a:gd name="connsiteX13" fmla="*/ 1049694 w 1222872"/>
                <a:gd name="connsiteY13" fmla="*/ 716132 h 1723001"/>
                <a:gd name="connsiteX14" fmla="*/ 991374 w 1222872"/>
                <a:gd name="connsiteY14" fmla="*/ 974219 h 1723001"/>
                <a:gd name="connsiteX15" fmla="*/ 774956 w 1222872"/>
                <a:gd name="connsiteY15" fmla="*/ 851436 h 1723001"/>
                <a:gd name="connsiteX16" fmla="*/ 816205 w 1222872"/>
                <a:gd name="connsiteY16" fmla="*/ 620988 h 1723001"/>
                <a:gd name="connsiteX17" fmla="*/ 244668 w 1222872"/>
                <a:gd name="connsiteY17" fmla="*/ 1216369 h 1723001"/>
                <a:gd name="connsiteX18" fmla="*/ 297473 w 1222872"/>
                <a:gd name="connsiteY18" fmla="*/ 1329380 h 1723001"/>
                <a:gd name="connsiteX19" fmla="*/ 298479 w 1222872"/>
                <a:gd name="connsiteY19" fmla="*/ 1329380 h 1723001"/>
                <a:gd name="connsiteX20" fmla="*/ 298165 w 1222872"/>
                <a:gd name="connsiteY20" fmla="*/ 1332127 h 1723001"/>
                <a:gd name="connsiteX21" fmla="*/ 298102 w 1222872"/>
                <a:gd name="connsiteY21" fmla="*/ 1358257 h 1723001"/>
                <a:gd name="connsiteX22" fmla="*/ 342497 w 1222872"/>
                <a:gd name="connsiteY22" fmla="*/ 1398458 h 1723001"/>
                <a:gd name="connsiteX23" fmla="*/ 385718 w 1222872"/>
                <a:gd name="connsiteY23" fmla="*/ 1367862 h 1723001"/>
                <a:gd name="connsiteX24" fmla="*/ 429148 w 1222872"/>
                <a:gd name="connsiteY24" fmla="*/ 1399758 h 1723001"/>
                <a:gd name="connsiteX25" fmla="*/ 472075 w 1222872"/>
                <a:gd name="connsiteY25" fmla="*/ 1370063 h 1723001"/>
                <a:gd name="connsiteX26" fmla="*/ 514835 w 1222872"/>
                <a:gd name="connsiteY26" fmla="*/ 1399989 h 1723001"/>
                <a:gd name="connsiteX27" fmla="*/ 558055 w 1222872"/>
                <a:gd name="connsiteY27" fmla="*/ 1369371 h 1723001"/>
                <a:gd name="connsiteX28" fmla="*/ 601486 w 1222872"/>
                <a:gd name="connsiteY28" fmla="*/ 1401289 h 1723001"/>
                <a:gd name="connsiteX29" fmla="*/ 643910 w 1222872"/>
                <a:gd name="connsiteY29" fmla="*/ 1373041 h 1723001"/>
                <a:gd name="connsiteX30" fmla="*/ 686166 w 1222872"/>
                <a:gd name="connsiteY30" fmla="*/ 1401520 h 1723001"/>
                <a:gd name="connsiteX31" fmla="*/ 729911 w 1222872"/>
                <a:gd name="connsiteY31" fmla="*/ 1369141 h 1723001"/>
                <a:gd name="connsiteX32" fmla="*/ 772859 w 1222872"/>
                <a:gd name="connsiteY32" fmla="*/ 1399611 h 1723001"/>
                <a:gd name="connsiteX33" fmla="*/ 816331 w 1222872"/>
                <a:gd name="connsiteY33" fmla="*/ 1368323 h 1723001"/>
                <a:gd name="connsiteX34" fmla="*/ 858524 w 1222872"/>
                <a:gd name="connsiteY34" fmla="*/ 1396654 h 1723001"/>
                <a:gd name="connsiteX35" fmla="*/ 903129 w 1222872"/>
                <a:gd name="connsiteY35" fmla="*/ 1356684 h 1723001"/>
                <a:gd name="connsiteX36" fmla="*/ 903213 w 1222872"/>
                <a:gd name="connsiteY36" fmla="*/ 1330554 h 1723001"/>
                <a:gd name="connsiteX37" fmla="*/ 902458 w 1222872"/>
                <a:gd name="connsiteY37" fmla="*/ 1323592 h 1723001"/>
                <a:gd name="connsiteX38" fmla="*/ 961931 w 1222872"/>
                <a:gd name="connsiteY38" fmla="*/ 1204961 h 1723001"/>
                <a:gd name="connsiteX39" fmla="*/ 918102 w 1222872"/>
                <a:gd name="connsiteY39" fmla="*/ 1469465 h 1723001"/>
                <a:gd name="connsiteX40" fmla="*/ 878384 w 1222872"/>
                <a:gd name="connsiteY40" fmla="*/ 1440085 h 1723001"/>
                <a:gd name="connsiteX41" fmla="*/ 842230 w 1222872"/>
                <a:gd name="connsiteY41" fmla="*/ 1460909 h 1723001"/>
                <a:gd name="connsiteX42" fmla="*/ 822895 w 1222872"/>
                <a:gd name="connsiteY42" fmla="*/ 1455918 h 1723001"/>
                <a:gd name="connsiteX43" fmla="*/ 783889 w 1222872"/>
                <a:gd name="connsiteY43" fmla="*/ 1482278 h 1723001"/>
                <a:gd name="connsiteX44" fmla="*/ 747149 w 1222872"/>
                <a:gd name="connsiteY44" fmla="*/ 1459986 h 1723001"/>
                <a:gd name="connsiteX45" fmla="*/ 705773 w 1222872"/>
                <a:gd name="connsiteY45" fmla="*/ 1495238 h 1723001"/>
                <a:gd name="connsiteX46" fmla="*/ 667145 w 1222872"/>
                <a:gd name="connsiteY46" fmla="*/ 1469360 h 1723001"/>
                <a:gd name="connsiteX47" fmla="*/ 627993 w 1222872"/>
                <a:gd name="connsiteY47" fmla="*/ 1496286 h 1723001"/>
                <a:gd name="connsiteX48" fmla="*/ 589302 w 1222872"/>
                <a:gd name="connsiteY48" fmla="*/ 1470220 h 1723001"/>
                <a:gd name="connsiteX49" fmla="*/ 552163 w 1222872"/>
                <a:gd name="connsiteY49" fmla="*/ 1492805 h 1723001"/>
                <a:gd name="connsiteX50" fmla="*/ 512528 w 1222872"/>
                <a:gd name="connsiteY50" fmla="*/ 1463614 h 1723001"/>
                <a:gd name="connsiteX51" fmla="*/ 474717 w 1222872"/>
                <a:gd name="connsiteY51" fmla="*/ 1487458 h 1723001"/>
                <a:gd name="connsiteX52" fmla="*/ 434705 w 1222872"/>
                <a:gd name="connsiteY52" fmla="*/ 1457008 h 1723001"/>
                <a:gd name="connsiteX53" fmla="*/ 397314 w 1222872"/>
                <a:gd name="connsiteY53" fmla="*/ 1480055 h 1723001"/>
                <a:gd name="connsiteX54" fmla="*/ 356883 w 1222872"/>
                <a:gd name="connsiteY54" fmla="*/ 1448263 h 1723001"/>
                <a:gd name="connsiteX55" fmla="*/ 315969 w 1222872"/>
                <a:gd name="connsiteY55" fmla="*/ 1480747 h 1723001"/>
                <a:gd name="connsiteX56" fmla="*/ 299192 w 1222872"/>
                <a:gd name="connsiteY56" fmla="*/ 1476553 h 1723001"/>
                <a:gd name="connsiteX57" fmla="*/ 244668 w 1222872"/>
                <a:gd name="connsiteY57" fmla="*/ 1216369 h 1723001"/>
                <a:gd name="connsiteX58" fmla="*/ 97538 w 1222872"/>
                <a:gd name="connsiteY58" fmla="*/ 1121937 h 1723001"/>
                <a:gd name="connsiteX59" fmla="*/ 157199 w 1222872"/>
                <a:gd name="connsiteY59" fmla="*/ 1187324 h 1723001"/>
                <a:gd name="connsiteX60" fmla="*/ 179680 w 1222872"/>
                <a:gd name="connsiteY60" fmla="*/ 1503962 h 1723001"/>
                <a:gd name="connsiteX61" fmla="*/ 469181 w 1222872"/>
                <a:gd name="connsiteY61" fmla="*/ 1723001 h 1723001"/>
                <a:gd name="connsiteX62" fmla="*/ 737922 w 1222872"/>
                <a:gd name="connsiteY62" fmla="*/ 1723001 h 1723001"/>
                <a:gd name="connsiteX63" fmla="*/ 1020020 w 1222872"/>
                <a:gd name="connsiteY63" fmla="*/ 1519019 h 1723001"/>
                <a:gd name="connsiteX64" fmla="*/ 1051770 w 1222872"/>
                <a:gd name="connsiteY64" fmla="*/ 1181788 h 1723001"/>
                <a:gd name="connsiteX65" fmla="*/ 1121162 w 1222872"/>
                <a:gd name="connsiteY65" fmla="*/ 1112962 h 1723001"/>
                <a:gd name="connsiteX66" fmla="*/ 1166354 w 1222872"/>
                <a:gd name="connsiteY66" fmla="*/ 912356 h 1723001"/>
                <a:gd name="connsiteX67" fmla="*/ 1222870 w 1222872"/>
                <a:gd name="connsiteY67" fmla="*/ 644349 h 1723001"/>
                <a:gd name="connsiteX68" fmla="*/ 613166 w 1222872"/>
                <a:gd name="connsiteY68" fmla="*/ 2 h 1723001"/>
                <a:gd name="connsiteX69" fmla="*/ 3 w 1222872"/>
                <a:gd name="connsiteY69" fmla="*/ 641057 h 1723001"/>
                <a:gd name="connsiteX70" fmla="*/ 52220 w 1222872"/>
                <a:gd name="connsiteY70" fmla="*/ 915648 h 1723001"/>
                <a:gd name="connsiteX71" fmla="*/ 97538 w 1222872"/>
                <a:gd name="connsiteY71" fmla="*/ 1121937 h 172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222872" h="1723001">
                  <a:moveTo>
                    <a:pt x="444771" y="847703"/>
                  </a:moveTo>
                  <a:cubicBezTo>
                    <a:pt x="370723" y="946643"/>
                    <a:pt x="321442" y="1015343"/>
                    <a:pt x="227682" y="969312"/>
                  </a:cubicBezTo>
                  <a:cubicBezTo>
                    <a:pt x="133964" y="923324"/>
                    <a:pt x="115195" y="824111"/>
                    <a:pt x="170746" y="710911"/>
                  </a:cubicBezTo>
                  <a:cubicBezTo>
                    <a:pt x="226298" y="597752"/>
                    <a:pt x="311020" y="571036"/>
                    <a:pt x="404759" y="617045"/>
                  </a:cubicBezTo>
                  <a:cubicBezTo>
                    <a:pt x="498498" y="663055"/>
                    <a:pt x="520308" y="746771"/>
                    <a:pt x="444771" y="847703"/>
                  </a:cubicBezTo>
                  <a:close/>
                  <a:moveTo>
                    <a:pt x="603184" y="955451"/>
                  </a:moveTo>
                  <a:cubicBezTo>
                    <a:pt x="634724" y="944462"/>
                    <a:pt x="679392" y="971661"/>
                    <a:pt x="706696" y="1020523"/>
                  </a:cubicBezTo>
                  <a:cubicBezTo>
                    <a:pt x="735950" y="1072824"/>
                    <a:pt x="734042" y="1129529"/>
                    <a:pt x="702439" y="1147186"/>
                  </a:cubicBezTo>
                  <a:cubicBezTo>
                    <a:pt x="677085" y="1161363"/>
                    <a:pt x="640491" y="1145781"/>
                    <a:pt x="611845" y="1112165"/>
                  </a:cubicBezTo>
                  <a:cubicBezTo>
                    <a:pt x="582738" y="1147396"/>
                    <a:pt x="544823" y="1163900"/>
                    <a:pt x="518924" y="1149241"/>
                  </a:cubicBezTo>
                  <a:cubicBezTo>
                    <a:pt x="487426" y="1131416"/>
                    <a:pt x="485832" y="1074669"/>
                    <a:pt x="515338" y="1022557"/>
                  </a:cubicBezTo>
                  <a:cubicBezTo>
                    <a:pt x="538489" y="981685"/>
                    <a:pt x="573804" y="956143"/>
                    <a:pt x="603184" y="955451"/>
                  </a:cubicBezTo>
                  <a:close/>
                  <a:moveTo>
                    <a:pt x="816205" y="620988"/>
                  </a:moveTo>
                  <a:cubicBezTo>
                    <a:pt x="910175" y="575482"/>
                    <a:pt x="994771" y="602660"/>
                    <a:pt x="1049694" y="716132"/>
                  </a:cubicBezTo>
                  <a:cubicBezTo>
                    <a:pt x="1104637" y="829605"/>
                    <a:pt x="1085344" y="928713"/>
                    <a:pt x="991374" y="974219"/>
                  </a:cubicBezTo>
                  <a:cubicBezTo>
                    <a:pt x="897383" y="1019726"/>
                    <a:pt x="848458" y="950774"/>
                    <a:pt x="774956" y="851436"/>
                  </a:cubicBezTo>
                  <a:cubicBezTo>
                    <a:pt x="699965" y="750105"/>
                    <a:pt x="722214" y="666495"/>
                    <a:pt x="816205" y="620988"/>
                  </a:cubicBezTo>
                  <a:close/>
                  <a:moveTo>
                    <a:pt x="244668" y="1216369"/>
                  </a:moveTo>
                  <a:lnTo>
                    <a:pt x="297473" y="1329380"/>
                  </a:lnTo>
                  <a:lnTo>
                    <a:pt x="298479" y="1329380"/>
                  </a:lnTo>
                  <a:lnTo>
                    <a:pt x="298165" y="1332127"/>
                  </a:lnTo>
                  <a:lnTo>
                    <a:pt x="298102" y="1358257"/>
                  </a:lnTo>
                  <a:cubicBezTo>
                    <a:pt x="298039" y="1380402"/>
                    <a:pt x="317919" y="1398395"/>
                    <a:pt x="342497" y="1398458"/>
                  </a:cubicBezTo>
                  <a:cubicBezTo>
                    <a:pt x="363468" y="1398521"/>
                    <a:pt x="380978" y="1385435"/>
                    <a:pt x="385718" y="1367862"/>
                  </a:cubicBezTo>
                  <a:cubicBezTo>
                    <a:pt x="389912" y="1386022"/>
                    <a:pt x="407737" y="1399695"/>
                    <a:pt x="429148" y="1399758"/>
                  </a:cubicBezTo>
                  <a:cubicBezTo>
                    <a:pt x="449762" y="1399821"/>
                    <a:pt x="466979" y="1387175"/>
                    <a:pt x="472075" y="1370063"/>
                  </a:cubicBezTo>
                  <a:cubicBezTo>
                    <a:pt x="477087" y="1387197"/>
                    <a:pt x="494241" y="1399926"/>
                    <a:pt x="514835" y="1399989"/>
                  </a:cubicBezTo>
                  <a:cubicBezTo>
                    <a:pt x="535805" y="1400052"/>
                    <a:pt x="553316" y="1386966"/>
                    <a:pt x="558055" y="1369371"/>
                  </a:cubicBezTo>
                  <a:cubicBezTo>
                    <a:pt x="562250" y="1387532"/>
                    <a:pt x="580075" y="1401226"/>
                    <a:pt x="601486" y="1401289"/>
                  </a:cubicBezTo>
                  <a:cubicBezTo>
                    <a:pt x="621513" y="1401352"/>
                    <a:pt x="638269" y="1389398"/>
                    <a:pt x="643910" y="1373041"/>
                  </a:cubicBezTo>
                  <a:cubicBezTo>
                    <a:pt x="649467" y="1389440"/>
                    <a:pt x="666160" y="1401456"/>
                    <a:pt x="686166" y="1401520"/>
                  </a:cubicBezTo>
                  <a:cubicBezTo>
                    <a:pt x="707870" y="1401583"/>
                    <a:pt x="725905" y="1387637"/>
                    <a:pt x="729911" y="1369141"/>
                  </a:cubicBezTo>
                  <a:cubicBezTo>
                    <a:pt x="734713" y="1386567"/>
                    <a:pt x="752014" y="1399548"/>
                    <a:pt x="772859" y="1399611"/>
                  </a:cubicBezTo>
                  <a:cubicBezTo>
                    <a:pt x="794102" y="1399674"/>
                    <a:pt x="811864" y="1386274"/>
                    <a:pt x="816331" y="1368323"/>
                  </a:cubicBezTo>
                  <a:cubicBezTo>
                    <a:pt x="821930" y="1384638"/>
                    <a:pt x="838581" y="1396591"/>
                    <a:pt x="858524" y="1396654"/>
                  </a:cubicBezTo>
                  <a:cubicBezTo>
                    <a:pt x="883102" y="1396717"/>
                    <a:pt x="903066" y="1378829"/>
                    <a:pt x="903129" y="1356684"/>
                  </a:cubicBezTo>
                  <a:lnTo>
                    <a:pt x="903213" y="1330554"/>
                  </a:lnTo>
                  <a:cubicBezTo>
                    <a:pt x="903213" y="1328164"/>
                    <a:pt x="902877" y="1325857"/>
                    <a:pt x="902458" y="1323592"/>
                  </a:cubicBezTo>
                  <a:lnTo>
                    <a:pt x="961931" y="1204961"/>
                  </a:lnTo>
                  <a:lnTo>
                    <a:pt x="918102" y="1469465"/>
                  </a:lnTo>
                  <a:cubicBezTo>
                    <a:pt x="912755" y="1452521"/>
                    <a:pt x="897110" y="1440127"/>
                    <a:pt x="878384" y="1440085"/>
                  </a:cubicBezTo>
                  <a:cubicBezTo>
                    <a:pt x="862928" y="1440022"/>
                    <a:pt x="849528" y="1448452"/>
                    <a:pt x="842230" y="1460909"/>
                  </a:cubicBezTo>
                  <a:cubicBezTo>
                    <a:pt x="836421" y="1457847"/>
                    <a:pt x="829920" y="1455939"/>
                    <a:pt x="822895" y="1455918"/>
                  </a:cubicBezTo>
                  <a:cubicBezTo>
                    <a:pt x="805196" y="1455855"/>
                    <a:pt x="790097" y="1466802"/>
                    <a:pt x="783889" y="1482278"/>
                  </a:cubicBezTo>
                  <a:cubicBezTo>
                    <a:pt x="776864" y="1469108"/>
                    <a:pt x="763149" y="1460028"/>
                    <a:pt x="747149" y="1459986"/>
                  </a:cubicBezTo>
                  <a:cubicBezTo>
                    <a:pt x="726241" y="1459923"/>
                    <a:pt x="709024" y="1475211"/>
                    <a:pt x="705773" y="1495238"/>
                  </a:cubicBezTo>
                  <a:cubicBezTo>
                    <a:pt x="699482" y="1480076"/>
                    <a:pt x="684572" y="1469402"/>
                    <a:pt x="667145" y="1469360"/>
                  </a:cubicBezTo>
                  <a:cubicBezTo>
                    <a:pt x="649257" y="1469318"/>
                    <a:pt x="634053" y="1480537"/>
                    <a:pt x="627993" y="1496286"/>
                  </a:cubicBezTo>
                  <a:cubicBezTo>
                    <a:pt x="621743" y="1481041"/>
                    <a:pt x="606791" y="1470262"/>
                    <a:pt x="589302" y="1470220"/>
                  </a:cubicBezTo>
                  <a:cubicBezTo>
                    <a:pt x="573112" y="1470178"/>
                    <a:pt x="559209" y="1479405"/>
                    <a:pt x="552163" y="1492805"/>
                  </a:cubicBezTo>
                  <a:cubicBezTo>
                    <a:pt x="546752" y="1475945"/>
                    <a:pt x="531171" y="1463656"/>
                    <a:pt x="512528" y="1463614"/>
                  </a:cubicBezTo>
                  <a:cubicBezTo>
                    <a:pt x="495835" y="1463572"/>
                    <a:pt x="481512" y="1473344"/>
                    <a:pt x="474717" y="1487458"/>
                  </a:cubicBezTo>
                  <a:cubicBezTo>
                    <a:pt x="469727" y="1469968"/>
                    <a:pt x="453810" y="1457050"/>
                    <a:pt x="434705" y="1457008"/>
                  </a:cubicBezTo>
                  <a:cubicBezTo>
                    <a:pt x="418327" y="1456966"/>
                    <a:pt x="404256" y="1466403"/>
                    <a:pt x="397314" y="1480055"/>
                  </a:cubicBezTo>
                  <a:cubicBezTo>
                    <a:pt x="392764" y="1461873"/>
                    <a:pt x="376469" y="1448326"/>
                    <a:pt x="356883" y="1448263"/>
                  </a:cubicBezTo>
                  <a:cubicBezTo>
                    <a:pt x="336919" y="1448200"/>
                    <a:pt x="320268" y="1462104"/>
                    <a:pt x="315969" y="1480747"/>
                  </a:cubicBezTo>
                  <a:lnTo>
                    <a:pt x="299192" y="1476553"/>
                  </a:lnTo>
                  <a:lnTo>
                    <a:pt x="244668" y="1216369"/>
                  </a:lnTo>
                  <a:close/>
                  <a:moveTo>
                    <a:pt x="97538" y="1121937"/>
                  </a:moveTo>
                  <a:cubicBezTo>
                    <a:pt x="97454" y="1151674"/>
                    <a:pt x="126498" y="1173924"/>
                    <a:pt x="157199" y="1187324"/>
                  </a:cubicBezTo>
                  <a:lnTo>
                    <a:pt x="179680" y="1503962"/>
                  </a:lnTo>
                  <a:lnTo>
                    <a:pt x="469181" y="1723001"/>
                  </a:lnTo>
                  <a:lnTo>
                    <a:pt x="737922" y="1723001"/>
                  </a:lnTo>
                  <a:lnTo>
                    <a:pt x="1020020" y="1519019"/>
                  </a:lnTo>
                  <a:lnTo>
                    <a:pt x="1051770" y="1181788"/>
                  </a:lnTo>
                  <a:cubicBezTo>
                    <a:pt x="1085701" y="1169185"/>
                    <a:pt x="1121078" y="1145718"/>
                    <a:pt x="1121162" y="1112962"/>
                  </a:cubicBezTo>
                  <a:lnTo>
                    <a:pt x="1166354" y="912356"/>
                  </a:lnTo>
                  <a:cubicBezTo>
                    <a:pt x="1202298" y="830821"/>
                    <a:pt x="1222598" y="740102"/>
                    <a:pt x="1222870" y="644349"/>
                  </a:cubicBezTo>
                  <a:cubicBezTo>
                    <a:pt x="1223814" y="289399"/>
                    <a:pt x="950838" y="904"/>
                    <a:pt x="613166" y="2"/>
                  </a:cubicBezTo>
                  <a:cubicBezTo>
                    <a:pt x="275474" y="-900"/>
                    <a:pt x="967" y="286106"/>
                    <a:pt x="3" y="641057"/>
                  </a:cubicBezTo>
                  <a:cubicBezTo>
                    <a:pt x="-249" y="735027"/>
                    <a:pt x="17974" y="835100"/>
                    <a:pt x="52220" y="915648"/>
                  </a:cubicBezTo>
                  <a:cubicBezTo>
                    <a:pt x="51695" y="919171"/>
                    <a:pt x="97538" y="1121937"/>
                    <a:pt x="97538" y="1121937"/>
                  </a:cubicBezTo>
                  <a:close/>
                </a:path>
              </a:pathLst>
            </a:custGeom>
            <a:solidFill>
              <a:schemeClr val="accent1"/>
            </a:solidFill>
            <a:ln w="20883" cap="flat">
              <a:noFill/>
              <a:prstDash val="solid"/>
              <a:round/>
            </a:ln>
          </p:spPr>
          <p:txBody>
            <a:bodyPr rtlCol="0" anchor="ctr"/>
            <a:lstStyle/>
            <a:p>
              <a:endParaRPr lang="en-US" sz="1350"/>
            </a:p>
          </p:txBody>
        </p:sp>
        <p:sp>
          <p:nvSpPr>
            <p:cNvPr id="119" name="Freeform: Shape 118">
              <a:extLst>
                <a:ext uri="{FF2B5EF4-FFF2-40B4-BE49-F238E27FC236}">
                  <a16:creationId xmlns:a16="http://schemas.microsoft.com/office/drawing/2014/main" id="{23C270A9-9712-4DE8-8457-33A195759122}"/>
                </a:ext>
              </a:extLst>
            </p:cNvPr>
            <p:cNvSpPr/>
            <p:nvPr/>
          </p:nvSpPr>
          <p:spPr>
            <a:xfrm>
              <a:off x="12581301" y="3487438"/>
              <a:ext cx="548725" cy="773155"/>
            </a:xfrm>
            <a:custGeom>
              <a:avLst/>
              <a:gdLst>
                <a:gd name="connsiteX0" fmla="*/ 444771 w 1222851"/>
                <a:gd name="connsiteY0" fmla="*/ 847703 h 1723000"/>
                <a:gd name="connsiteX1" fmla="*/ 227682 w 1222851"/>
                <a:gd name="connsiteY1" fmla="*/ 969312 h 1723000"/>
                <a:gd name="connsiteX2" fmla="*/ 170747 w 1222851"/>
                <a:gd name="connsiteY2" fmla="*/ 710911 h 1723000"/>
                <a:gd name="connsiteX3" fmla="*/ 404759 w 1222851"/>
                <a:gd name="connsiteY3" fmla="*/ 617046 h 1723000"/>
                <a:gd name="connsiteX4" fmla="*/ 444771 w 1222851"/>
                <a:gd name="connsiteY4" fmla="*/ 847703 h 1723000"/>
                <a:gd name="connsiteX5" fmla="*/ 603184 w 1222851"/>
                <a:gd name="connsiteY5" fmla="*/ 955450 h 1723000"/>
                <a:gd name="connsiteX6" fmla="*/ 706696 w 1222851"/>
                <a:gd name="connsiteY6" fmla="*/ 1020523 h 1723000"/>
                <a:gd name="connsiteX7" fmla="*/ 702439 w 1222851"/>
                <a:gd name="connsiteY7" fmla="*/ 1147186 h 1723000"/>
                <a:gd name="connsiteX8" fmla="*/ 611846 w 1222851"/>
                <a:gd name="connsiteY8" fmla="*/ 1112165 h 1723000"/>
                <a:gd name="connsiteX9" fmla="*/ 518924 w 1222851"/>
                <a:gd name="connsiteY9" fmla="*/ 1149241 h 1723000"/>
                <a:gd name="connsiteX10" fmla="*/ 515338 w 1222851"/>
                <a:gd name="connsiteY10" fmla="*/ 1022557 h 1723000"/>
                <a:gd name="connsiteX11" fmla="*/ 603184 w 1222851"/>
                <a:gd name="connsiteY11" fmla="*/ 955450 h 1723000"/>
                <a:gd name="connsiteX12" fmla="*/ 816205 w 1222851"/>
                <a:gd name="connsiteY12" fmla="*/ 620988 h 1723000"/>
                <a:gd name="connsiteX13" fmla="*/ 1049694 w 1222851"/>
                <a:gd name="connsiteY13" fmla="*/ 716132 h 1723000"/>
                <a:gd name="connsiteX14" fmla="*/ 991353 w 1222851"/>
                <a:gd name="connsiteY14" fmla="*/ 974219 h 1723000"/>
                <a:gd name="connsiteX15" fmla="*/ 774956 w 1222851"/>
                <a:gd name="connsiteY15" fmla="*/ 851436 h 1723000"/>
                <a:gd name="connsiteX16" fmla="*/ 816205 w 1222851"/>
                <a:gd name="connsiteY16" fmla="*/ 620988 h 1723000"/>
                <a:gd name="connsiteX17" fmla="*/ 244669 w 1222851"/>
                <a:gd name="connsiteY17" fmla="*/ 1216369 h 1723000"/>
                <a:gd name="connsiteX18" fmla="*/ 297473 w 1222851"/>
                <a:gd name="connsiteY18" fmla="*/ 1329359 h 1723000"/>
                <a:gd name="connsiteX19" fmla="*/ 298479 w 1222851"/>
                <a:gd name="connsiteY19" fmla="*/ 1329380 h 1723000"/>
                <a:gd name="connsiteX20" fmla="*/ 298165 w 1222851"/>
                <a:gd name="connsiteY20" fmla="*/ 1332127 h 1723000"/>
                <a:gd name="connsiteX21" fmla="*/ 298102 w 1222851"/>
                <a:gd name="connsiteY21" fmla="*/ 1358257 h 1723000"/>
                <a:gd name="connsiteX22" fmla="*/ 342497 w 1222851"/>
                <a:gd name="connsiteY22" fmla="*/ 1398458 h 1723000"/>
                <a:gd name="connsiteX23" fmla="*/ 385718 w 1222851"/>
                <a:gd name="connsiteY23" fmla="*/ 1367841 h 1723000"/>
                <a:gd name="connsiteX24" fmla="*/ 429148 w 1222851"/>
                <a:gd name="connsiteY24" fmla="*/ 1399758 h 1723000"/>
                <a:gd name="connsiteX25" fmla="*/ 472075 w 1222851"/>
                <a:gd name="connsiteY25" fmla="*/ 1370063 h 1723000"/>
                <a:gd name="connsiteX26" fmla="*/ 514835 w 1222851"/>
                <a:gd name="connsiteY26" fmla="*/ 1399988 h 1723000"/>
                <a:gd name="connsiteX27" fmla="*/ 558055 w 1222851"/>
                <a:gd name="connsiteY27" fmla="*/ 1369371 h 1723000"/>
                <a:gd name="connsiteX28" fmla="*/ 601486 w 1222851"/>
                <a:gd name="connsiteY28" fmla="*/ 1401289 h 1723000"/>
                <a:gd name="connsiteX29" fmla="*/ 643910 w 1222851"/>
                <a:gd name="connsiteY29" fmla="*/ 1373041 h 1723000"/>
                <a:gd name="connsiteX30" fmla="*/ 686166 w 1222851"/>
                <a:gd name="connsiteY30" fmla="*/ 1401520 h 1723000"/>
                <a:gd name="connsiteX31" fmla="*/ 729911 w 1222851"/>
                <a:gd name="connsiteY31" fmla="*/ 1369141 h 1723000"/>
                <a:gd name="connsiteX32" fmla="*/ 772859 w 1222851"/>
                <a:gd name="connsiteY32" fmla="*/ 1399611 h 1723000"/>
                <a:gd name="connsiteX33" fmla="*/ 816310 w 1222851"/>
                <a:gd name="connsiteY33" fmla="*/ 1368323 h 1723000"/>
                <a:gd name="connsiteX34" fmla="*/ 858524 w 1222851"/>
                <a:gd name="connsiteY34" fmla="*/ 1396654 h 1723000"/>
                <a:gd name="connsiteX35" fmla="*/ 903129 w 1222851"/>
                <a:gd name="connsiteY35" fmla="*/ 1356684 h 1723000"/>
                <a:gd name="connsiteX36" fmla="*/ 903213 w 1222851"/>
                <a:gd name="connsiteY36" fmla="*/ 1330555 h 1723000"/>
                <a:gd name="connsiteX37" fmla="*/ 902437 w 1222851"/>
                <a:gd name="connsiteY37" fmla="*/ 1323592 h 1723000"/>
                <a:gd name="connsiteX38" fmla="*/ 961931 w 1222851"/>
                <a:gd name="connsiteY38" fmla="*/ 1204961 h 1723000"/>
                <a:gd name="connsiteX39" fmla="*/ 918102 w 1222851"/>
                <a:gd name="connsiteY39" fmla="*/ 1469465 h 1723000"/>
                <a:gd name="connsiteX40" fmla="*/ 878384 w 1222851"/>
                <a:gd name="connsiteY40" fmla="*/ 1440064 h 1723000"/>
                <a:gd name="connsiteX41" fmla="*/ 842230 w 1222851"/>
                <a:gd name="connsiteY41" fmla="*/ 1460909 h 1723000"/>
                <a:gd name="connsiteX42" fmla="*/ 822895 w 1222851"/>
                <a:gd name="connsiteY42" fmla="*/ 1455918 h 1723000"/>
                <a:gd name="connsiteX43" fmla="*/ 783889 w 1222851"/>
                <a:gd name="connsiteY43" fmla="*/ 1482278 h 1723000"/>
                <a:gd name="connsiteX44" fmla="*/ 747149 w 1222851"/>
                <a:gd name="connsiteY44" fmla="*/ 1459986 h 1723000"/>
                <a:gd name="connsiteX45" fmla="*/ 705774 w 1222851"/>
                <a:gd name="connsiteY45" fmla="*/ 1495238 h 1723000"/>
                <a:gd name="connsiteX46" fmla="*/ 667145 w 1222851"/>
                <a:gd name="connsiteY46" fmla="*/ 1469360 h 1723000"/>
                <a:gd name="connsiteX47" fmla="*/ 627993 w 1222851"/>
                <a:gd name="connsiteY47" fmla="*/ 1496286 h 1723000"/>
                <a:gd name="connsiteX48" fmla="*/ 589302 w 1222851"/>
                <a:gd name="connsiteY48" fmla="*/ 1470220 h 1723000"/>
                <a:gd name="connsiteX49" fmla="*/ 552163 w 1222851"/>
                <a:gd name="connsiteY49" fmla="*/ 1492805 h 1723000"/>
                <a:gd name="connsiteX50" fmla="*/ 512528 w 1222851"/>
                <a:gd name="connsiteY50" fmla="*/ 1463614 h 1723000"/>
                <a:gd name="connsiteX51" fmla="*/ 474718 w 1222851"/>
                <a:gd name="connsiteY51" fmla="*/ 1487458 h 1723000"/>
                <a:gd name="connsiteX52" fmla="*/ 434705 w 1222851"/>
                <a:gd name="connsiteY52" fmla="*/ 1457008 h 1723000"/>
                <a:gd name="connsiteX53" fmla="*/ 397315 w 1222851"/>
                <a:gd name="connsiteY53" fmla="*/ 1480055 h 1723000"/>
                <a:gd name="connsiteX54" fmla="*/ 356883 w 1222851"/>
                <a:gd name="connsiteY54" fmla="*/ 1448263 h 1723000"/>
                <a:gd name="connsiteX55" fmla="*/ 315969 w 1222851"/>
                <a:gd name="connsiteY55" fmla="*/ 1480747 h 1723000"/>
                <a:gd name="connsiteX56" fmla="*/ 299193 w 1222851"/>
                <a:gd name="connsiteY56" fmla="*/ 1476553 h 1723000"/>
                <a:gd name="connsiteX57" fmla="*/ 244669 w 1222851"/>
                <a:gd name="connsiteY57" fmla="*/ 1216369 h 1723000"/>
                <a:gd name="connsiteX58" fmla="*/ 97517 w 1222851"/>
                <a:gd name="connsiteY58" fmla="*/ 1121938 h 1723000"/>
                <a:gd name="connsiteX59" fmla="*/ 157199 w 1222851"/>
                <a:gd name="connsiteY59" fmla="*/ 1187324 h 1723000"/>
                <a:gd name="connsiteX60" fmla="*/ 179680 w 1222851"/>
                <a:gd name="connsiteY60" fmla="*/ 1503941 h 1723000"/>
                <a:gd name="connsiteX61" fmla="*/ 469181 w 1222851"/>
                <a:gd name="connsiteY61" fmla="*/ 1723001 h 1723000"/>
                <a:gd name="connsiteX62" fmla="*/ 737922 w 1222851"/>
                <a:gd name="connsiteY62" fmla="*/ 1723001 h 1723000"/>
                <a:gd name="connsiteX63" fmla="*/ 1020020 w 1222851"/>
                <a:gd name="connsiteY63" fmla="*/ 1519019 h 1723000"/>
                <a:gd name="connsiteX64" fmla="*/ 1051770 w 1222851"/>
                <a:gd name="connsiteY64" fmla="*/ 1181788 h 1723000"/>
                <a:gd name="connsiteX65" fmla="*/ 1121162 w 1222851"/>
                <a:gd name="connsiteY65" fmla="*/ 1112962 h 1723000"/>
                <a:gd name="connsiteX66" fmla="*/ 1166354 w 1222851"/>
                <a:gd name="connsiteY66" fmla="*/ 912356 h 1723000"/>
                <a:gd name="connsiteX67" fmla="*/ 1222849 w 1222851"/>
                <a:gd name="connsiteY67" fmla="*/ 644350 h 1723000"/>
                <a:gd name="connsiteX68" fmla="*/ 613167 w 1222851"/>
                <a:gd name="connsiteY68" fmla="*/ 2 h 1723000"/>
                <a:gd name="connsiteX69" fmla="*/ 3 w 1222851"/>
                <a:gd name="connsiteY69" fmla="*/ 641057 h 1723000"/>
                <a:gd name="connsiteX70" fmla="*/ 52220 w 1222851"/>
                <a:gd name="connsiteY70" fmla="*/ 915648 h 1723000"/>
                <a:gd name="connsiteX71" fmla="*/ 97517 w 1222851"/>
                <a:gd name="connsiteY71" fmla="*/ 1121938 h 172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222851" h="1723000">
                  <a:moveTo>
                    <a:pt x="444771" y="847703"/>
                  </a:moveTo>
                  <a:cubicBezTo>
                    <a:pt x="370703" y="946643"/>
                    <a:pt x="321442" y="1015343"/>
                    <a:pt x="227682" y="969312"/>
                  </a:cubicBezTo>
                  <a:cubicBezTo>
                    <a:pt x="133943" y="923303"/>
                    <a:pt x="115195" y="824111"/>
                    <a:pt x="170747" y="710911"/>
                  </a:cubicBezTo>
                  <a:cubicBezTo>
                    <a:pt x="226298" y="597753"/>
                    <a:pt x="311020" y="571036"/>
                    <a:pt x="404759" y="617046"/>
                  </a:cubicBezTo>
                  <a:cubicBezTo>
                    <a:pt x="498499" y="663055"/>
                    <a:pt x="520308" y="746771"/>
                    <a:pt x="444771" y="847703"/>
                  </a:cubicBezTo>
                  <a:close/>
                  <a:moveTo>
                    <a:pt x="603184" y="955450"/>
                  </a:moveTo>
                  <a:cubicBezTo>
                    <a:pt x="634725" y="944462"/>
                    <a:pt x="679392" y="971661"/>
                    <a:pt x="706696" y="1020523"/>
                  </a:cubicBezTo>
                  <a:cubicBezTo>
                    <a:pt x="735950" y="1072824"/>
                    <a:pt x="734042" y="1129529"/>
                    <a:pt x="702439" y="1147186"/>
                  </a:cubicBezTo>
                  <a:cubicBezTo>
                    <a:pt x="677085" y="1161362"/>
                    <a:pt x="640492" y="1145781"/>
                    <a:pt x="611846" y="1112165"/>
                  </a:cubicBezTo>
                  <a:cubicBezTo>
                    <a:pt x="582738" y="1147396"/>
                    <a:pt x="544823" y="1163900"/>
                    <a:pt x="518924" y="1149241"/>
                  </a:cubicBezTo>
                  <a:cubicBezTo>
                    <a:pt x="487426" y="1131395"/>
                    <a:pt x="485811" y="1074669"/>
                    <a:pt x="515338" y="1022557"/>
                  </a:cubicBezTo>
                  <a:cubicBezTo>
                    <a:pt x="538490" y="981685"/>
                    <a:pt x="573805" y="956143"/>
                    <a:pt x="603184" y="955450"/>
                  </a:cubicBezTo>
                  <a:close/>
                  <a:moveTo>
                    <a:pt x="816205" y="620988"/>
                  </a:moveTo>
                  <a:cubicBezTo>
                    <a:pt x="910175" y="575482"/>
                    <a:pt x="994771" y="602660"/>
                    <a:pt x="1049694" y="716132"/>
                  </a:cubicBezTo>
                  <a:cubicBezTo>
                    <a:pt x="1104637" y="829605"/>
                    <a:pt x="1085344" y="928713"/>
                    <a:pt x="991353" y="974219"/>
                  </a:cubicBezTo>
                  <a:cubicBezTo>
                    <a:pt x="897362" y="1019726"/>
                    <a:pt x="848458" y="950774"/>
                    <a:pt x="774956" y="851436"/>
                  </a:cubicBezTo>
                  <a:cubicBezTo>
                    <a:pt x="699965" y="750105"/>
                    <a:pt x="722215" y="666495"/>
                    <a:pt x="816205" y="620988"/>
                  </a:cubicBezTo>
                  <a:close/>
                  <a:moveTo>
                    <a:pt x="244669" y="1216369"/>
                  </a:moveTo>
                  <a:lnTo>
                    <a:pt x="297473" y="1329359"/>
                  </a:lnTo>
                  <a:lnTo>
                    <a:pt x="298479" y="1329380"/>
                  </a:lnTo>
                  <a:lnTo>
                    <a:pt x="298165" y="1332127"/>
                  </a:lnTo>
                  <a:lnTo>
                    <a:pt x="298102" y="1358257"/>
                  </a:lnTo>
                  <a:cubicBezTo>
                    <a:pt x="298039" y="1380381"/>
                    <a:pt x="317919" y="1398395"/>
                    <a:pt x="342497" y="1398458"/>
                  </a:cubicBezTo>
                  <a:cubicBezTo>
                    <a:pt x="363468" y="1398521"/>
                    <a:pt x="380978" y="1385435"/>
                    <a:pt x="385718" y="1367841"/>
                  </a:cubicBezTo>
                  <a:cubicBezTo>
                    <a:pt x="389912" y="1386022"/>
                    <a:pt x="407737" y="1399695"/>
                    <a:pt x="429148" y="1399758"/>
                  </a:cubicBezTo>
                  <a:cubicBezTo>
                    <a:pt x="449762" y="1399821"/>
                    <a:pt x="466959" y="1387176"/>
                    <a:pt x="472075" y="1370063"/>
                  </a:cubicBezTo>
                  <a:cubicBezTo>
                    <a:pt x="477087" y="1387196"/>
                    <a:pt x="494220" y="1399926"/>
                    <a:pt x="514835" y="1399988"/>
                  </a:cubicBezTo>
                  <a:cubicBezTo>
                    <a:pt x="535805" y="1400052"/>
                    <a:pt x="553316" y="1386966"/>
                    <a:pt x="558055" y="1369371"/>
                  </a:cubicBezTo>
                  <a:cubicBezTo>
                    <a:pt x="562250" y="1387532"/>
                    <a:pt x="580075" y="1401226"/>
                    <a:pt x="601486" y="1401289"/>
                  </a:cubicBezTo>
                  <a:cubicBezTo>
                    <a:pt x="621513" y="1401331"/>
                    <a:pt x="638269" y="1389398"/>
                    <a:pt x="643910" y="1373041"/>
                  </a:cubicBezTo>
                  <a:cubicBezTo>
                    <a:pt x="649467" y="1389440"/>
                    <a:pt x="666160" y="1401457"/>
                    <a:pt x="686166" y="1401520"/>
                  </a:cubicBezTo>
                  <a:cubicBezTo>
                    <a:pt x="707870" y="1401582"/>
                    <a:pt x="725905" y="1387637"/>
                    <a:pt x="729911" y="1369141"/>
                  </a:cubicBezTo>
                  <a:cubicBezTo>
                    <a:pt x="734713" y="1386567"/>
                    <a:pt x="752014" y="1399548"/>
                    <a:pt x="772859" y="1399611"/>
                  </a:cubicBezTo>
                  <a:cubicBezTo>
                    <a:pt x="794102" y="1399674"/>
                    <a:pt x="811864" y="1386274"/>
                    <a:pt x="816310" y="1368323"/>
                  </a:cubicBezTo>
                  <a:cubicBezTo>
                    <a:pt x="821930" y="1384638"/>
                    <a:pt x="838581" y="1396591"/>
                    <a:pt x="858524" y="1396654"/>
                  </a:cubicBezTo>
                  <a:cubicBezTo>
                    <a:pt x="883102" y="1396717"/>
                    <a:pt x="903066" y="1378829"/>
                    <a:pt x="903129" y="1356684"/>
                  </a:cubicBezTo>
                  <a:lnTo>
                    <a:pt x="903213" y="1330555"/>
                  </a:lnTo>
                  <a:cubicBezTo>
                    <a:pt x="903213" y="1328164"/>
                    <a:pt x="902877" y="1325857"/>
                    <a:pt x="902437" y="1323592"/>
                  </a:cubicBezTo>
                  <a:lnTo>
                    <a:pt x="961931" y="1204961"/>
                  </a:lnTo>
                  <a:lnTo>
                    <a:pt x="918102" y="1469465"/>
                  </a:lnTo>
                  <a:cubicBezTo>
                    <a:pt x="912755" y="1452520"/>
                    <a:pt x="897111" y="1440127"/>
                    <a:pt x="878384" y="1440064"/>
                  </a:cubicBezTo>
                  <a:cubicBezTo>
                    <a:pt x="862928" y="1440022"/>
                    <a:pt x="849528" y="1448452"/>
                    <a:pt x="842230" y="1460909"/>
                  </a:cubicBezTo>
                  <a:cubicBezTo>
                    <a:pt x="836421" y="1457826"/>
                    <a:pt x="829899" y="1455938"/>
                    <a:pt x="822895" y="1455918"/>
                  </a:cubicBezTo>
                  <a:cubicBezTo>
                    <a:pt x="805196" y="1455855"/>
                    <a:pt x="790097" y="1466801"/>
                    <a:pt x="783889" y="1482278"/>
                  </a:cubicBezTo>
                  <a:cubicBezTo>
                    <a:pt x="776864" y="1469108"/>
                    <a:pt x="763149" y="1460028"/>
                    <a:pt x="747149" y="1459986"/>
                  </a:cubicBezTo>
                  <a:cubicBezTo>
                    <a:pt x="726241" y="1459923"/>
                    <a:pt x="709003" y="1475211"/>
                    <a:pt x="705774" y="1495238"/>
                  </a:cubicBezTo>
                  <a:cubicBezTo>
                    <a:pt x="699482" y="1480076"/>
                    <a:pt x="684572" y="1469402"/>
                    <a:pt x="667145" y="1469360"/>
                  </a:cubicBezTo>
                  <a:cubicBezTo>
                    <a:pt x="649257" y="1469318"/>
                    <a:pt x="634053" y="1480516"/>
                    <a:pt x="627993" y="1496286"/>
                  </a:cubicBezTo>
                  <a:cubicBezTo>
                    <a:pt x="621744" y="1481041"/>
                    <a:pt x="606792" y="1470262"/>
                    <a:pt x="589302" y="1470220"/>
                  </a:cubicBezTo>
                  <a:cubicBezTo>
                    <a:pt x="573113" y="1470178"/>
                    <a:pt x="559209" y="1479405"/>
                    <a:pt x="552163" y="1492805"/>
                  </a:cubicBezTo>
                  <a:cubicBezTo>
                    <a:pt x="546752" y="1475945"/>
                    <a:pt x="531171" y="1463656"/>
                    <a:pt x="512528" y="1463614"/>
                  </a:cubicBezTo>
                  <a:cubicBezTo>
                    <a:pt x="495835" y="1463572"/>
                    <a:pt x="481512" y="1473344"/>
                    <a:pt x="474718" y="1487458"/>
                  </a:cubicBezTo>
                  <a:cubicBezTo>
                    <a:pt x="469706" y="1469968"/>
                    <a:pt x="453810" y="1457050"/>
                    <a:pt x="434705" y="1457008"/>
                  </a:cubicBezTo>
                  <a:cubicBezTo>
                    <a:pt x="418327" y="1456966"/>
                    <a:pt x="404256" y="1466403"/>
                    <a:pt x="397315" y="1480055"/>
                  </a:cubicBezTo>
                  <a:cubicBezTo>
                    <a:pt x="392764" y="1461873"/>
                    <a:pt x="376470" y="1448326"/>
                    <a:pt x="356883" y="1448263"/>
                  </a:cubicBezTo>
                  <a:cubicBezTo>
                    <a:pt x="336919" y="1448200"/>
                    <a:pt x="320268" y="1462104"/>
                    <a:pt x="315969" y="1480747"/>
                  </a:cubicBezTo>
                  <a:lnTo>
                    <a:pt x="299193" y="1476553"/>
                  </a:lnTo>
                  <a:lnTo>
                    <a:pt x="244669" y="1216369"/>
                  </a:lnTo>
                  <a:close/>
                  <a:moveTo>
                    <a:pt x="97517" y="1121938"/>
                  </a:moveTo>
                  <a:cubicBezTo>
                    <a:pt x="97454" y="1151674"/>
                    <a:pt x="126498" y="1173924"/>
                    <a:pt x="157199" y="1187324"/>
                  </a:cubicBezTo>
                  <a:lnTo>
                    <a:pt x="179680" y="1503941"/>
                  </a:lnTo>
                  <a:lnTo>
                    <a:pt x="469181" y="1723001"/>
                  </a:lnTo>
                  <a:lnTo>
                    <a:pt x="737922" y="1723001"/>
                  </a:lnTo>
                  <a:lnTo>
                    <a:pt x="1020020" y="1519019"/>
                  </a:lnTo>
                  <a:lnTo>
                    <a:pt x="1051770" y="1181788"/>
                  </a:lnTo>
                  <a:cubicBezTo>
                    <a:pt x="1085701" y="1169184"/>
                    <a:pt x="1121078" y="1145718"/>
                    <a:pt x="1121162" y="1112962"/>
                  </a:cubicBezTo>
                  <a:lnTo>
                    <a:pt x="1166354" y="912356"/>
                  </a:lnTo>
                  <a:cubicBezTo>
                    <a:pt x="1202298" y="830821"/>
                    <a:pt x="1222598" y="740102"/>
                    <a:pt x="1222849" y="644350"/>
                  </a:cubicBezTo>
                  <a:cubicBezTo>
                    <a:pt x="1223814" y="289398"/>
                    <a:pt x="950838" y="904"/>
                    <a:pt x="613167" y="2"/>
                  </a:cubicBezTo>
                  <a:cubicBezTo>
                    <a:pt x="275474" y="-921"/>
                    <a:pt x="967" y="286106"/>
                    <a:pt x="3" y="641057"/>
                  </a:cubicBezTo>
                  <a:cubicBezTo>
                    <a:pt x="-249" y="735027"/>
                    <a:pt x="17975" y="835099"/>
                    <a:pt x="52220" y="915648"/>
                  </a:cubicBezTo>
                  <a:cubicBezTo>
                    <a:pt x="51696" y="919171"/>
                    <a:pt x="97517" y="1121938"/>
                    <a:pt x="97517" y="1121938"/>
                  </a:cubicBezTo>
                  <a:close/>
                </a:path>
              </a:pathLst>
            </a:custGeom>
            <a:solidFill>
              <a:schemeClr val="tx2">
                <a:lumMod val="95000"/>
              </a:schemeClr>
            </a:solidFill>
            <a:ln w="20883" cap="flat">
              <a:noFill/>
              <a:prstDash val="solid"/>
              <a:round/>
            </a:ln>
          </p:spPr>
          <p:txBody>
            <a:bodyPr rtlCol="0" anchor="ctr"/>
            <a:lstStyle/>
            <a:p>
              <a:endParaRPr lang="en-US" sz="1350"/>
            </a:p>
          </p:txBody>
        </p:sp>
        <p:sp>
          <p:nvSpPr>
            <p:cNvPr id="127" name="Freeform: Shape 126">
              <a:extLst>
                <a:ext uri="{FF2B5EF4-FFF2-40B4-BE49-F238E27FC236}">
                  <a16:creationId xmlns:a16="http://schemas.microsoft.com/office/drawing/2014/main" id="{D8D70FAE-74F6-41AC-AF11-D2FB90D2B593}"/>
                </a:ext>
              </a:extLst>
            </p:cNvPr>
            <p:cNvSpPr/>
            <p:nvPr/>
          </p:nvSpPr>
          <p:spPr>
            <a:xfrm>
              <a:off x="12691090" y="4028135"/>
              <a:ext cx="321854" cy="130725"/>
            </a:xfrm>
            <a:custGeom>
              <a:avLst/>
              <a:gdLst>
                <a:gd name="connsiteX0" fmla="*/ 230049 w 717262"/>
                <a:gd name="connsiteY0" fmla="*/ 282497 h 291325"/>
                <a:gd name="connsiteX1" fmla="*/ 267859 w 717262"/>
                <a:gd name="connsiteY1" fmla="*/ 258653 h 291325"/>
                <a:gd name="connsiteX2" fmla="*/ 307494 w 717262"/>
                <a:gd name="connsiteY2" fmla="*/ 287845 h 291325"/>
                <a:gd name="connsiteX3" fmla="*/ 344633 w 717262"/>
                <a:gd name="connsiteY3" fmla="*/ 265259 h 291325"/>
                <a:gd name="connsiteX4" fmla="*/ 383325 w 717262"/>
                <a:gd name="connsiteY4" fmla="*/ 291326 h 291325"/>
                <a:gd name="connsiteX5" fmla="*/ 422477 w 717262"/>
                <a:gd name="connsiteY5" fmla="*/ 264399 h 291325"/>
                <a:gd name="connsiteX6" fmla="*/ 461105 w 717262"/>
                <a:gd name="connsiteY6" fmla="*/ 290277 h 291325"/>
                <a:gd name="connsiteX7" fmla="*/ 502480 w 717262"/>
                <a:gd name="connsiteY7" fmla="*/ 255025 h 291325"/>
                <a:gd name="connsiteX8" fmla="*/ 539221 w 717262"/>
                <a:gd name="connsiteY8" fmla="*/ 277317 h 291325"/>
                <a:gd name="connsiteX9" fmla="*/ 578227 w 717262"/>
                <a:gd name="connsiteY9" fmla="*/ 250957 h 291325"/>
                <a:gd name="connsiteX10" fmla="*/ 597562 w 717262"/>
                <a:gd name="connsiteY10" fmla="*/ 255927 h 291325"/>
                <a:gd name="connsiteX11" fmla="*/ 633715 w 717262"/>
                <a:gd name="connsiteY11" fmla="*/ 235124 h 291325"/>
                <a:gd name="connsiteX12" fmla="*/ 673434 w 717262"/>
                <a:gd name="connsiteY12" fmla="*/ 264504 h 291325"/>
                <a:gd name="connsiteX13" fmla="*/ 717263 w 717262"/>
                <a:gd name="connsiteY13" fmla="*/ 0 h 291325"/>
                <a:gd name="connsiteX14" fmla="*/ 657769 w 717262"/>
                <a:gd name="connsiteY14" fmla="*/ 118632 h 291325"/>
                <a:gd name="connsiteX15" fmla="*/ 658545 w 717262"/>
                <a:gd name="connsiteY15" fmla="*/ 125594 h 291325"/>
                <a:gd name="connsiteX16" fmla="*/ 658461 w 717262"/>
                <a:gd name="connsiteY16" fmla="*/ 151723 h 291325"/>
                <a:gd name="connsiteX17" fmla="*/ 613856 w 717262"/>
                <a:gd name="connsiteY17" fmla="*/ 191693 h 291325"/>
                <a:gd name="connsiteX18" fmla="*/ 571642 w 717262"/>
                <a:gd name="connsiteY18" fmla="*/ 163362 h 291325"/>
                <a:gd name="connsiteX19" fmla="*/ 528190 w 717262"/>
                <a:gd name="connsiteY19" fmla="*/ 194650 h 291325"/>
                <a:gd name="connsiteX20" fmla="*/ 485242 w 717262"/>
                <a:gd name="connsiteY20" fmla="*/ 164180 h 291325"/>
                <a:gd name="connsiteX21" fmla="*/ 441497 w 717262"/>
                <a:gd name="connsiteY21" fmla="*/ 196559 h 291325"/>
                <a:gd name="connsiteX22" fmla="*/ 399241 w 717262"/>
                <a:gd name="connsiteY22" fmla="*/ 168081 h 291325"/>
                <a:gd name="connsiteX23" fmla="*/ 356817 w 717262"/>
                <a:gd name="connsiteY23" fmla="*/ 196328 h 291325"/>
                <a:gd name="connsiteX24" fmla="*/ 313387 w 717262"/>
                <a:gd name="connsiteY24" fmla="*/ 164411 h 291325"/>
                <a:gd name="connsiteX25" fmla="*/ 270166 w 717262"/>
                <a:gd name="connsiteY25" fmla="*/ 195028 h 291325"/>
                <a:gd name="connsiteX26" fmla="*/ 227407 w 717262"/>
                <a:gd name="connsiteY26" fmla="*/ 165103 h 291325"/>
                <a:gd name="connsiteX27" fmla="*/ 184480 w 717262"/>
                <a:gd name="connsiteY27" fmla="*/ 194797 h 291325"/>
                <a:gd name="connsiteX28" fmla="*/ 141049 w 717262"/>
                <a:gd name="connsiteY28" fmla="*/ 162880 h 291325"/>
                <a:gd name="connsiteX29" fmla="*/ 97828 w 717262"/>
                <a:gd name="connsiteY29" fmla="*/ 193497 h 291325"/>
                <a:gd name="connsiteX30" fmla="*/ 53434 w 717262"/>
                <a:gd name="connsiteY30" fmla="*/ 153296 h 291325"/>
                <a:gd name="connsiteX31" fmla="*/ 53496 w 717262"/>
                <a:gd name="connsiteY31" fmla="*/ 127167 h 291325"/>
                <a:gd name="connsiteX32" fmla="*/ 53811 w 717262"/>
                <a:gd name="connsiteY32" fmla="*/ 124419 h 291325"/>
                <a:gd name="connsiteX33" fmla="*/ 52804 w 717262"/>
                <a:gd name="connsiteY33" fmla="*/ 124419 h 291325"/>
                <a:gd name="connsiteX34" fmla="*/ 0 w 717262"/>
                <a:gd name="connsiteY34" fmla="*/ 11408 h 291325"/>
                <a:gd name="connsiteX35" fmla="*/ 54524 w 717262"/>
                <a:gd name="connsiteY35" fmla="*/ 271592 h 291325"/>
                <a:gd name="connsiteX36" fmla="*/ 71300 w 717262"/>
                <a:gd name="connsiteY36" fmla="*/ 275786 h 291325"/>
                <a:gd name="connsiteX37" fmla="*/ 112214 w 717262"/>
                <a:gd name="connsiteY37" fmla="*/ 243302 h 291325"/>
                <a:gd name="connsiteX38" fmla="*/ 152646 w 717262"/>
                <a:gd name="connsiteY38" fmla="*/ 275094 h 291325"/>
                <a:gd name="connsiteX39" fmla="*/ 190037 w 717262"/>
                <a:gd name="connsiteY39" fmla="*/ 252047 h 291325"/>
                <a:gd name="connsiteX40" fmla="*/ 230049 w 717262"/>
                <a:gd name="connsiteY40" fmla="*/ 282497 h 291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17262" h="291325">
                  <a:moveTo>
                    <a:pt x="230049" y="282497"/>
                  </a:moveTo>
                  <a:cubicBezTo>
                    <a:pt x="236844" y="268383"/>
                    <a:pt x="251167" y="258611"/>
                    <a:pt x="267859" y="258653"/>
                  </a:cubicBezTo>
                  <a:cubicBezTo>
                    <a:pt x="286502" y="258695"/>
                    <a:pt x="302084" y="270984"/>
                    <a:pt x="307494" y="287845"/>
                  </a:cubicBezTo>
                  <a:cubicBezTo>
                    <a:pt x="314540" y="274444"/>
                    <a:pt x="328444" y="265217"/>
                    <a:pt x="344633" y="265259"/>
                  </a:cubicBezTo>
                  <a:cubicBezTo>
                    <a:pt x="362123" y="265301"/>
                    <a:pt x="377075" y="276080"/>
                    <a:pt x="383325" y="291326"/>
                  </a:cubicBezTo>
                  <a:cubicBezTo>
                    <a:pt x="389385" y="275576"/>
                    <a:pt x="404589" y="264357"/>
                    <a:pt x="422477" y="264399"/>
                  </a:cubicBezTo>
                  <a:cubicBezTo>
                    <a:pt x="439904" y="264441"/>
                    <a:pt x="454814" y="275115"/>
                    <a:pt x="461105" y="290277"/>
                  </a:cubicBezTo>
                  <a:cubicBezTo>
                    <a:pt x="464334" y="270250"/>
                    <a:pt x="481572" y="254962"/>
                    <a:pt x="502480" y="255025"/>
                  </a:cubicBezTo>
                  <a:cubicBezTo>
                    <a:pt x="518481" y="255046"/>
                    <a:pt x="532196" y="264147"/>
                    <a:pt x="539221" y="277317"/>
                  </a:cubicBezTo>
                  <a:cubicBezTo>
                    <a:pt x="545428" y="261841"/>
                    <a:pt x="560527" y="250894"/>
                    <a:pt x="578227" y="250957"/>
                  </a:cubicBezTo>
                  <a:cubicBezTo>
                    <a:pt x="585231" y="250957"/>
                    <a:pt x="591753" y="252865"/>
                    <a:pt x="597562" y="255927"/>
                  </a:cubicBezTo>
                  <a:cubicBezTo>
                    <a:pt x="604860" y="243491"/>
                    <a:pt x="618260" y="235061"/>
                    <a:pt x="633715" y="235124"/>
                  </a:cubicBezTo>
                  <a:cubicBezTo>
                    <a:pt x="652442" y="235166"/>
                    <a:pt x="668086" y="247560"/>
                    <a:pt x="673434" y="264504"/>
                  </a:cubicBezTo>
                  <a:lnTo>
                    <a:pt x="717263" y="0"/>
                  </a:lnTo>
                  <a:lnTo>
                    <a:pt x="657769" y="118632"/>
                  </a:lnTo>
                  <a:cubicBezTo>
                    <a:pt x="658209" y="120896"/>
                    <a:pt x="658545" y="123203"/>
                    <a:pt x="658545" y="125594"/>
                  </a:cubicBezTo>
                  <a:lnTo>
                    <a:pt x="658461" y="151723"/>
                  </a:lnTo>
                  <a:cubicBezTo>
                    <a:pt x="658398" y="173869"/>
                    <a:pt x="638434" y="191757"/>
                    <a:pt x="613856" y="191693"/>
                  </a:cubicBezTo>
                  <a:cubicBezTo>
                    <a:pt x="593913" y="191631"/>
                    <a:pt x="577262" y="179677"/>
                    <a:pt x="571642" y="163362"/>
                  </a:cubicBezTo>
                  <a:cubicBezTo>
                    <a:pt x="567196" y="181313"/>
                    <a:pt x="549434" y="194713"/>
                    <a:pt x="528190" y="194650"/>
                  </a:cubicBezTo>
                  <a:cubicBezTo>
                    <a:pt x="507345" y="194587"/>
                    <a:pt x="490044" y="181606"/>
                    <a:pt x="485242" y="164180"/>
                  </a:cubicBezTo>
                  <a:cubicBezTo>
                    <a:pt x="481237" y="182676"/>
                    <a:pt x="463202" y="196622"/>
                    <a:pt x="441497" y="196559"/>
                  </a:cubicBezTo>
                  <a:cubicBezTo>
                    <a:pt x="421491" y="196496"/>
                    <a:pt x="404798" y="184480"/>
                    <a:pt x="399241" y="168081"/>
                  </a:cubicBezTo>
                  <a:cubicBezTo>
                    <a:pt x="393600" y="184438"/>
                    <a:pt x="376844" y="196370"/>
                    <a:pt x="356817" y="196328"/>
                  </a:cubicBezTo>
                  <a:cubicBezTo>
                    <a:pt x="335406" y="196265"/>
                    <a:pt x="317581" y="182571"/>
                    <a:pt x="313387" y="164411"/>
                  </a:cubicBezTo>
                  <a:cubicBezTo>
                    <a:pt x="308648" y="182005"/>
                    <a:pt x="291137" y="195091"/>
                    <a:pt x="270166" y="195028"/>
                  </a:cubicBezTo>
                  <a:cubicBezTo>
                    <a:pt x="249552" y="194965"/>
                    <a:pt x="232419" y="182236"/>
                    <a:pt x="227407" y="165103"/>
                  </a:cubicBezTo>
                  <a:cubicBezTo>
                    <a:pt x="222290" y="182215"/>
                    <a:pt x="205094" y="194839"/>
                    <a:pt x="184480" y="194797"/>
                  </a:cubicBezTo>
                  <a:cubicBezTo>
                    <a:pt x="163069" y="194734"/>
                    <a:pt x="145243" y="181040"/>
                    <a:pt x="141049" y="162880"/>
                  </a:cubicBezTo>
                  <a:cubicBezTo>
                    <a:pt x="136310" y="180474"/>
                    <a:pt x="118799" y="193539"/>
                    <a:pt x="97828" y="193497"/>
                  </a:cubicBezTo>
                  <a:cubicBezTo>
                    <a:pt x="73251" y="193434"/>
                    <a:pt x="53371" y="175441"/>
                    <a:pt x="53434" y="153296"/>
                  </a:cubicBezTo>
                  <a:lnTo>
                    <a:pt x="53496" y="127167"/>
                  </a:lnTo>
                  <a:lnTo>
                    <a:pt x="53811" y="124419"/>
                  </a:lnTo>
                  <a:lnTo>
                    <a:pt x="52804" y="124419"/>
                  </a:lnTo>
                  <a:lnTo>
                    <a:pt x="0" y="11408"/>
                  </a:lnTo>
                  <a:lnTo>
                    <a:pt x="54524" y="271592"/>
                  </a:lnTo>
                  <a:lnTo>
                    <a:pt x="71300" y="275786"/>
                  </a:lnTo>
                  <a:cubicBezTo>
                    <a:pt x="75599" y="257143"/>
                    <a:pt x="92250" y="243240"/>
                    <a:pt x="112214" y="243302"/>
                  </a:cubicBezTo>
                  <a:cubicBezTo>
                    <a:pt x="131801" y="243365"/>
                    <a:pt x="148095" y="256913"/>
                    <a:pt x="152646" y="275094"/>
                  </a:cubicBezTo>
                  <a:cubicBezTo>
                    <a:pt x="159587" y="261442"/>
                    <a:pt x="173659" y="252006"/>
                    <a:pt x="190037" y="252047"/>
                  </a:cubicBezTo>
                  <a:cubicBezTo>
                    <a:pt x="209141" y="252089"/>
                    <a:pt x="225058" y="265007"/>
                    <a:pt x="230049" y="282497"/>
                  </a:cubicBezTo>
                  <a:close/>
                </a:path>
              </a:pathLst>
            </a:custGeom>
            <a:solidFill>
              <a:schemeClr val="accent1"/>
            </a:solidFill>
            <a:ln w="20883" cap="flat">
              <a:noFill/>
              <a:prstDash val="solid"/>
              <a:round/>
            </a:ln>
          </p:spPr>
          <p:txBody>
            <a:bodyPr rtlCol="0" anchor="ctr"/>
            <a:lstStyle/>
            <a:p>
              <a:endParaRPr lang="en-US" sz="1350"/>
            </a:p>
          </p:txBody>
        </p:sp>
        <p:sp>
          <p:nvSpPr>
            <p:cNvPr id="130" name="Freeform: Shape 129">
              <a:extLst>
                <a:ext uri="{FF2B5EF4-FFF2-40B4-BE49-F238E27FC236}">
                  <a16:creationId xmlns:a16="http://schemas.microsoft.com/office/drawing/2014/main" id="{CBA35FE0-1E6D-4CC2-95BC-547E408218B2}"/>
                </a:ext>
              </a:extLst>
            </p:cNvPr>
            <p:cNvSpPr/>
            <p:nvPr/>
          </p:nvSpPr>
          <p:spPr>
            <a:xfrm>
              <a:off x="12643960" y="3754713"/>
              <a:ext cx="157370" cy="174242"/>
            </a:xfrm>
            <a:custGeom>
              <a:avLst/>
              <a:gdLst>
                <a:gd name="connsiteX0" fmla="*/ 305134 w 350704"/>
                <a:gd name="connsiteY0" fmla="*/ 252072 h 388303"/>
                <a:gd name="connsiteX1" fmla="*/ 265122 w 350704"/>
                <a:gd name="connsiteY1" fmla="*/ 21415 h 388303"/>
                <a:gd name="connsiteX2" fmla="*/ 31109 w 350704"/>
                <a:gd name="connsiteY2" fmla="*/ 115280 h 388303"/>
                <a:gd name="connsiteX3" fmla="*/ 88045 w 350704"/>
                <a:gd name="connsiteY3" fmla="*/ 373682 h 388303"/>
                <a:gd name="connsiteX4" fmla="*/ 305134 w 350704"/>
                <a:gd name="connsiteY4" fmla="*/ 252072 h 388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704" h="388303">
                  <a:moveTo>
                    <a:pt x="305134" y="252072"/>
                  </a:moveTo>
                  <a:cubicBezTo>
                    <a:pt x="380671" y="151140"/>
                    <a:pt x="358861" y="67425"/>
                    <a:pt x="265122" y="21415"/>
                  </a:cubicBezTo>
                  <a:cubicBezTo>
                    <a:pt x="171383" y="-24595"/>
                    <a:pt x="86661" y="2122"/>
                    <a:pt x="31109" y="115280"/>
                  </a:cubicBezTo>
                  <a:cubicBezTo>
                    <a:pt x="-24442" y="228480"/>
                    <a:pt x="-5674" y="327672"/>
                    <a:pt x="88045" y="373682"/>
                  </a:cubicBezTo>
                  <a:cubicBezTo>
                    <a:pt x="181805" y="419712"/>
                    <a:pt x="231065" y="351012"/>
                    <a:pt x="305134" y="252072"/>
                  </a:cubicBezTo>
                  <a:close/>
                </a:path>
              </a:pathLst>
            </a:custGeom>
            <a:solidFill>
              <a:schemeClr val="accent1"/>
            </a:solidFill>
            <a:ln w="20883" cap="flat">
              <a:noFill/>
              <a:prstDash val="solid"/>
              <a:round/>
            </a:ln>
          </p:spPr>
          <p:txBody>
            <a:bodyPr rtlCol="0" anchor="ctr"/>
            <a:lstStyle/>
            <a:p>
              <a:endParaRPr lang="en-US" sz="1350"/>
            </a:p>
          </p:txBody>
        </p:sp>
        <p:sp>
          <p:nvSpPr>
            <p:cNvPr id="135" name="Freeform: Shape 134">
              <a:extLst>
                <a:ext uri="{FF2B5EF4-FFF2-40B4-BE49-F238E27FC236}">
                  <a16:creationId xmlns:a16="http://schemas.microsoft.com/office/drawing/2014/main" id="{2E879A40-3C8B-4F04-A0AD-4858C8077E1A}"/>
                </a:ext>
              </a:extLst>
            </p:cNvPr>
            <p:cNvSpPr/>
            <p:nvPr/>
          </p:nvSpPr>
          <p:spPr>
            <a:xfrm>
              <a:off x="12908869" y="3756683"/>
              <a:ext cx="157133" cy="174336"/>
            </a:xfrm>
            <a:custGeom>
              <a:avLst/>
              <a:gdLst>
                <a:gd name="connsiteX0" fmla="*/ 319699 w 350175"/>
                <a:gd name="connsiteY0" fmla="*/ 116112 h 388514"/>
                <a:gd name="connsiteX1" fmla="*/ 86190 w 350175"/>
                <a:gd name="connsiteY1" fmla="*/ 20968 h 388514"/>
                <a:gd name="connsiteX2" fmla="*/ 44961 w 350175"/>
                <a:gd name="connsiteY2" fmla="*/ 251416 h 388514"/>
                <a:gd name="connsiteX3" fmla="*/ 261379 w 350175"/>
                <a:gd name="connsiteY3" fmla="*/ 374199 h 388514"/>
                <a:gd name="connsiteX4" fmla="*/ 319699 w 350175"/>
                <a:gd name="connsiteY4" fmla="*/ 116112 h 388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175" h="388514">
                  <a:moveTo>
                    <a:pt x="319699" y="116112"/>
                  </a:moveTo>
                  <a:cubicBezTo>
                    <a:pt x="264777" y="2639"/>
                    <a:pt x="180181" y="-24539"/>
                    <a:pt x="86190" y="20968"/>
                  </a:cubicBezTo>
                  <a:cubicBezTo>
                    <a:pt x="-7780" y="66474"/>
                    <a:pt x="-30030" y="150064"/>
                    <a:pt x="44961" y="251416"/>
                  </a:cubicBezTo>
                  <a:cubicBezTo>
                    <a:pt x="118464" y="350754"/>
                    <a:pt x="167367" y="419706"/>
                    <a:pt x="261379" y="374199"/>
                  </a:cubicBezTo>
                  <a:cubicBezTo>
                    <a:pt x="355349" y="328693"/>
                    <a:pt x="374642" y="229585"/>
                    <a:pt x="319699" y="116112"/>
                  </a:cubicBezTo>
                  <a:close/>
                </a:path>
              </a:pathLst>
            </a:custGeom>
            <a:solidFill>
              <a:schemeClr val="accent1"/>
            </a:solidFill>
            <a:ln w="20883" cap="flat">
              <a:noFill/>
              <a:prstDash val="solid"/>
              <a:round/>
            </a:ln>
          </p:spPr>
          <p:txBody>
            <a:bodyPr rtlCol="0" anchor="ctr"/>
            <a:lstStyle/>
            <a:p>
              <a:endParaRPr lang="en-US" sz="1350"/>
            </a:p>
          </p:txBody>
        </p:sp>
        <p:sp>
          <p:nvSpPr>
            <p:cNvPr id="136" name="Freeform: Shape 135">
              <a:extLst>
                <a:ext uri="{FF2B5EF4-FFF2-40B4-BE49-F238E27FC236}">
                  <a16:creationId xmlns:a16="http://schemas.microsoft.com/office/drawing/2014/main" id="{52583FA2-B7A7-4184-B038-4A78798A6B39}"/>
                </a:ext>
              </a:extLst>
            </p:cNvPr>
            <p:cNvSpPr/>
            <p:nvPr/>
          </p:nvSpPr>
          <p:spPr>
            <a:xfrm>
              <a:off x="12803067" y="3915086"/>
              <a:ext cx="104658" cy="90445"/>
            </a:xfrm>
            <a:custGeom>
              <a:avLst/>
              <a:gdLst>
                <a:gd name="connsiteX0" fmla="*/ 108971 w 233234"/>
                <a:gd name="connsiteY0" fmla="*/ 2423 h 201559"/>
                <a:gd name="connsiteX1" fmla="*/ 21125 w 233234"/>
                <a:gd name="connsiteY1" fmla="*/ 69530 h 201559"/>
                <a:gd name="connsiteX2" fmla="*/ 24711 w 233234"/>
                <a:gd name="connsiteY2" fmla="*/ 196214 h 201559"/>
                <a:gd name="connsiteX3" fmla="*/ 117632 w 233234"/>
                <a:gd name="connsiteY3" fmla="*/ 159138 h 201559"/>
                <a:gd name="connsiteX4" fmla="*/ 208226 w 233234"/>
                <a:gd name="connsiteY4" fmla="*/ 194159 h 201559"/>
                <a:gd name="connsiteX5" fmla="*/ 212483 w 233234"/>
                <a:gd name="connsiteY5" fmla="*/ 67496 h 201559"/>
                <a:gd name="connsiteX6" fmla="*/ 108971 w 233234"/>
                <a:gd name="connsiteY6" fmla="*/ 2423 h 201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234" h="201559">
                  <a:moveTo>
                    <a:pt x="108971" y="2423"/>
                  </a:moveTo>
                  <a:cubicBezTo>
                    <a:pt x="79591" y="3115"/>
                    <a:pt x="44276" y="28658"/>
                    <a:pt x="21125" y="69530"/>
                  </a:cubicBezTo>
                  <a:cubicBezTo>
                    <a:pt x="-8381" y="121642"/>
                    <a:pt x="-6787" y="178389"/>
                    <a:pt x="24711" y="196214"/>
                  </a:cubicBezTo>
                  <a:cubicBezTo>
                    <a:pt x="50610" y="210873"/>
                    <a:pt x="88525" y="194368"/>
                    <a:pt x="117632" y="159138"/>
                  </a:cubicBezTo>
                  <a:cubicBezTo>
                    <a:pt x="146278" y="192754"/>
                    <a:pt x="182872" y="208335"/>
                    <a:pt x="208226" y="194159"/>
                  </a:cubicBezTo>
                  <a:cubicBezTo>
                    <a:pt x="239829" y="176502"/>
                    <a:pt x="241737" y="119797"/>
                    <a:pt x="212483" y="67496"/>
                  </a:cubicBezTo>
                  <a:cubicBezTo>
                    <a:pt x="185179" y="18634"/>
                    <a:pt x="140511" y="-8566"/>
                    <a:pt x="108971" y="2423"/>
                  </a:cubicBezTo>
                  <a:close/>
                </a:path>
              </a:pathLst>
            </a:custGeom>
            <a:solidFill>
              <a:schemeClr val="accent1"/>
            </a:solidFill>
            <a:ln w="20883" cap="flat">
              <a:noFill/>
              <a:prstDash val="solid"/>
              <a:round/>
            </a:ln>
          </p:spPr>
          <p:txBody>
            <a:bodyPr rtlCol="0" anchor="ctr"/>
            <a:lstStyle/>
            <a:p>
              <a:endParaRPr lang="en-US" sz="1350"/>
            </a:p>
          </p:txBody>
        </p:sp>
      </p:grpSp>
      <p:grpSp>
        <p:nvGrpSpPr>
          <p:cNvPr id="88" name="Graphic 8">
            <a:extLst>
              <a:ext uri="{FF2B5EF4-FFF2-40B4-BE49-F238E27FC236}">
                <a16:creationId xmlns:a16="http://schemas.microsoft.com/office/drawing/2014/main" id="{28251E5D-6F0B-42EA-ACB2-0FD6E0B44AB9}"/>
              </a:ext>
            </a:extLst>
          </p:cNvPr>
          <p:cNvGrpSpPr/>
          <p:nvPr/>
        </p:nvGrpSpPr>
        <p:grpSpPr>
          <a:xfrm>
            <a:off x="2296512" y="3134390"/>
            <a:ext cx="400446" cy="359018"/>
            <a:chOff x="2273320" y="4"/>
            <a:chExt cx="7645147" cy="6854231"/>
          </a:xfrm>
          <a:solidFill>
            <a:schemeClr val="accent1"/>
          </a:solidFill>
        </p:grpSpPr>
        <p:sp>
          <p:nvSpPr>
            <p:cNvPr id="93" name="Freeform: Shape 92">
              <a:extLst>
                <a:ext uri="{FF2B5EF4-FFF2-40B4-BE49-F238E27FC236}">
                  <a16:creationId xmlns:a16="http://schemas.microsoft.com/office/drawing/2014/main" id="{51CCFA92-AEBC-451A-9683-C9A84E3A6A19}"/>
                </a:ext>
              </a:extLst>
            </p:cNvPr>
            <p:cNvSpPr/>
            <p:nvPr/>
          </p:nvSpPr>
          <p:spPr>
            <a:xfrm>
              <a:off x="3413834" y="6033561"/>
              <a:ext cx="799293" cy="491241"/>
            </a:xfrm>
            <a:custGeom>
              <a:avLst/>
              <a:gdLst>
                <a:gd name="connsiteX0" fmla="*/ 799293 w 799293"/>
                <a:gd name="connsiteY0" fmla="*/ 491242 h 491241"/>
                <a:gd name="connsiteX1" fmla="*/ 584372 w 799293"/>
                <a:gd name="connsiteY1" fmla="*/ 382968 h 491241"/>
                <a:gd name="connsiteX2" fmla="*/ 0 w 799293"/>
                <a:gd name="connsiteY2" fmla="*/ 0 h 491241"/>
                <a:gd name="connsiteX3" fmla="*/ 214921 w 799293"/>
                <a:gd name="connsiteY3" fmla="*/ 108287 h 491241"/>
                <a:gd name="connsiteX4" fmla="*/ 799293 w 799293"/>
                <a:gd name="connsiteY4" fmla="*/ 491242 h 491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293" h="491241">
                  <a:moveTo>
                    <a:pt x="799293" y="491242"/>
                  </a:moveTo>
                  <a:lnTo>
                    <a:pt x="584372" y="382968"/>
                  </a:lnTo>
                  <a:cubicBezTo>
                    <a:pt x="379762" y="279874"/>
                    <a:pt x="183650" y="152342"/>
                    <a:pt x="0" y="0"/>
                  </a:cubicBezTo>
                  <a:lnTo>
                    <a:pt x="214921" y="108287"/>
                  </a:lnTo>
                  <a:cubicBezTo>
                    <a:pt x="398560" y="260617"/>
                    <a:pt x="594684" y="388161"/>
                    <a:pt x="799293" y="491242"/>
                  </a:cubicBezTo>
                  <a:close/>
                </a:path>
              </a:pathLst>
            </a:custGeom>
            <a:solidFill>
              <a:srgbClr val="468244"/>
            </a:solidFill>
            <a:ln w="12413" cap="flat">
              <a:noFill/>
              <a:prstDash val="solid"/>
              <a:round/>
            </a:ln>
          </p:spPr>
          <p:txBody>
            <a:bodyPr rtlCol="0" anchor="ctr"/>
            <a:lstStyle/>
            <a:p>
              <a:endParaRPr lang="en-US" sz="1350"/>
            </a:p>
          </p:txBody>
        </p:sp>
        <p:sp>
          <p:nvSpPr>
            <p:cNvPr id="103" name="Freeform: Shape 102">
              <a:extLst>
                <a:ext uri="{FF2B5EF4-FFF2-40B4-BE49-F238E27FC236}">
                  <a16:creationId xmlns:a16="http://schemas.microsoft.com/office/drawing/2014/main" id="{CB41D11B-94E7-47E1-BDDC-AF9F1C5298F2}"/>
                </a:ext>
              </a:extLst>
            </p:cNvPr>
            <p:cNvSpPr/>
            <p:nvPr/>
          </p:nvSpPr>
          <p:spPr>
            <a:xfrm>
              <a:off x="3628743" y="3656627"/>
              <a:ext cx="4381372" cy="3197608"/>
            </a:xfrm>
            <a:custGeom>
              <a:avLst/>
              <a:gdLst>
                <a:gd name="connsiteX0" fmla="*/ 2027349 w 4381372"/>
                <a:gd name="connsiteY0" fmla="*/ 0 h 3197608"/>
                <a:gd name="connsiteX1" fmla="*/ 4381373 w 4381372"/>
                <a:gd name="connsiteY1" fmla="*/ 2098029 h 3197608"/>
                <a:gd name="connsiteX2" fmla="*/ 1976970 w 4381372"/>
                <a:gd name="connsiteY2" fmla="*/ 3197609 h 3197608"/>
                <a:gd name="connsiteX3" fmla="*/ 0 w 4381372"/>
                <a:gd name="connsiteY3" fmla="*/ 2485221 h 3197608"/>
                <a:gd name="connsiteX4" fmla="*/ 2027349 w 4381372"/>
                <a:gd name="connsiteY4" fmla="*/ 0 h 3197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1372" h="3197608">
                  <a:moveTo>
                    <a:pt x="2027349" y="0"/>
                  </a:moveTo>
                  <a:lnTo>
                    <a:pt x="4381373" y="2098029"/>
                  </a:lnTo>
                  <a:cubicBezTo>
                    <a:pt x="3746721" y="2823649"/>
                    <a:pt x="2861914" y="3197609"/>
                    <a:pt x="1976970" y="3197609"/>
                  </a:cubicBezTo>
                  <a:cubicBezTo>
                    <a:pt x="1276981" y="3197609"/>
                    <a:pt x="577004" y="2963840"/>
                    <a:pt x="0" y="2485221"/>
                  </a:cubicBezTo>
                  <a:lnTo>
                    <a:pt x="2027349" y="0"/>
                  </a:lnTo>
                  <a:close/>
                </a:path>
              </a:pathLst>
            </a:custGeom>
            <a:solidFill>
              <a:schemeClr val="accent1"/>
            </a:solidFill>
            <a:ln w="12413" cap="flat">
              <a:noFill/>
              <a:prstDash val="solid"/>
              <a:round/>
            </a:ln>
          </p:spPr>
          <p:txBody>
            <a:bodyPr rtlCol="0" anchor="ctr"/>
            <a:lstStyle/>
            <a:p>
              <a:endParaRPr lang="en-US" sz="1350"/>
            </a:p>
          </p:txBody>
        </p:sp>
        <p:sp>
          <p:nvSpPr>
            <p:cNvPr id="111" name="Freeform: Shape 110">
              <a:extLst>
                <a:ext uri="{FF2B5EF4-FFF2-40B4-BE49-F238E27FC236}">
                  <a16:creationId xmlns:a16="http://schemas.microsoft.com/office/drawing/2014/main" id="{FC016525-D1CE-4923-B2B7-A285296C71A8}"/>
                </a:ext>
              </a:extLst>
            </p:cNvPr>
            <p:cNvSpPr/>
            <p:nvPr/>
          </p:nvSpPr>
          <p:spPr>
            <a:xfrm>
              <a:off x="5209427" y="458733"/>
              <a:ext cx="495242" cy="3197881"/>
            </a:xfrm>
            <a:custGeom>
              <a:avLst/>
              <a:gdLst>
                <a:gd name="connsiteX0" fmla="*/ 495243 w 495242"/>
                <a:gd name="connsiteY0" fmla="*/ 0 h 3197881"/>
                <a:gd name="connsiteX1" fmla="*/ 446665 w 495242"/>
                <a:gd name="connsiteY1" fmla="*/ 3197882 h 3197881"/>
                <a:gd name="connsiteX2" fmla="*/ 0 w 495242"/>
                <a:gd name="connsiteY2" fmla="*/ 39322 h 3197881"/>
                <a:gd name="connsiteX3" fmla="*/ 495243 w 495242"/>
                <a:gd name="connsiteY3" fmla="*/ 0 h 3197881"/>
              </a:gdLst>
              <a:ahLst/>
              <a:cxnLst>
                <a:cxn ang="0">
                  <a:pos x="connsiteX0" y="connsiteY0"/>
                </a:cxn>
                <a:cxn ang="0">
                  <a:pos x="connsiteX1" y="connsiteY1"/>
                </a:cxn>
                <a:cxn ang="0">
                  <a:pos x="connsiteX2" y="connsiteY2"/>
                </a:cxn>
                <a:cxn ang="0">
                  <a:pos x="connsiteX3" y="connsiteY3"/>
                </a:cxn>
              </a:cxnLst>
              <a:rect l="l" t="t" r="r" b="b"/>
              <a:pathLst>
                <a:path w="495242" h="3197881">
                  <a:moveTo>
                    <a:pt x="495243" y="0"/>
                  </a:moveTo>
                  <a:lnTo>
                    <a:pt x="446665" y="3197882"/>
                  </a:lnTo>
                  <a:lnTo>
                    <a:pt x="0" y="39322"/>
                  </a:lnTo>
                  <a:cubicBezTo>
                    <a:pt x="167686" y="12585"/>
                    <a:pt x="325892" y="0"/>
                    <a:pt x="495243" y="0"/>
                  </a:cubicBezTo>
                  <a:close/>
                </a:path>
              </a:pathLst>
            </a:custGeom>
            <a:solidFill>
              <a:schemeClr val="accent1"/>
            </a:solidFill>
            <a:ln w="12413" cap="flat">
              <a:noFill/>
              <a:prstDash val="solid"/>
              <a:round/>
            </a:ln>
          </p:spPr>
          <p:txBody>
            <a:bodyPr rtlCol="0" anchor="ctr"/>
            <a:lstStyle/>
            <a:p>
              <a:endParaRPr lang="en-US" sz="1350"/>
            </a:p>
          </p:txBody>
        </p:sp>
        <p:sp>
          <p:nvSpPr>
            <p:cNvPr id="118" name="Freeform: Shape 117">
              <a:extLst>
                <a:ext uri="{FF2B5EF4-FFF2-40B4-BE49-F238E27FC236}">
                  <a16:creationId xmlns:a16="http://schemas.microsoft.com/office/drawing/2014/main" id="{20013FD0-A925-4173-8775-4AE7675CF7F4}"/>
                </a:ext>
              </a:extLst>
            </p:cNvPr>
            <p:cNvSpPr/>
            <p:nvPr/>
          </p:nvSpPr>
          <p:spPr>
            <a:xfrm>
              <a:off x="4994518" y="350459"/>
              <a:ext cx="710151" cy="147596"/>
            </a:xfrm>
            <a:custGeom>
              <a:avLst/>
              <a:gdLst>
                <a:gd name="connsiteX0" fmla="*/ 315382 w 710151"/>
                <a:gd name="connsiteY0" fmla="*/ 133284 h 147596"/>
                <a:gd name="connsiteX1" fmla="*/ 379886 w 710151"/>
                <a:gd name="connsiteY1" fmla="*/ 125693 h 147596"/>
                <a:gd name="connsiteX2" fmla="*/ 394919 w 710151"/>
                <a:gd name="connsiteY2" fmla="*/ 124041 h 147596"/>
                <a:gd name="connsiteX3" fmla="*/ 471848 w 710151"/>
                <a:gd name="connsiteY3" fmla="*/ 117220 h 147596"/>
                <a:gd name="connsiteX4" fmla="*/ 490807 w 710151"/>
                <a:gd name="connsiteY4" fmla="*/ 115903 h 147596"/>
                <a:gd name="connsiteX5" fmla="*/ 552977 w 710151"/>
                <a:gd name="connsiteY5" fmla="*/ 112213 h 147596"/>
                <a:gd name="connsiteX6" fmla="*/ 574333 w 710151"/>
                <a:gd name="connsiteY6" fmla="*/ 111169 h 147596"/>
                <a:gd name="connsiteX7" fmla="*/ 620165 w 710151"/>
                <a:gd name="connsiteY7" fmla="*/ 109641 h 147596"/>
                <a:gd name="connsiteX8" fmla="*/ 641808 w 710151"/>
                <a:gd name="connsiteY8" fmla="*/ 109020 h 147596"/>
                <a:gd name="connsiteX9" fmla="*/ 710152 w 710151"/>
                <a:gd name="connsiteY9" fmla="*/ 108274 h 147596"/>
                <a:gd name="connsiteX10" fmla="*/ 495243 w 710151"/>
                <a:gd name="connsiteY10" fmla="*/ 0 h 147596"/>
                <a:gd name="connsiteX11" fmla="*/ 426998 w 710151"/>
                <a:gd name="connsiteY11" fmla="*/ 745 h 147596"/>
                <a:gd name="connsiteX12" fmla="*/ 404896 w 710151"/>
                <a:gd name="connsiteY12" fmla="*/ 1379 h 147596"/>
                <a:gd name="connsiteX13" fmla="*/ 359424 w 710151"/>
                <a:gd name="connsiteY13" fmla="*/ 2895 h 147596"/>
                <a:gd name="connsiteX14" fmla="*/ 350678 w 710151"/>
                <a:gd name="connsiteY14" fmla="*/ 3193 h 147596"/>
                <a:gd name="connsiteX15" fmla="*/ 338055 w 710151"/>
                <a:gd name="connsiteY15" fmla="*/ 3938 h 147596"/>
                <a:gd name="connsiteX16" fmla="*/ 275823 w 710151"/>
                <a:gd name="connsiteY16" fmla="*/ 7628 h 147596"/>
                <a:gd name="connsiteX17" fmla="*/ 256964 w 710151"/>
                <a:gd name="connsiteY17" fmla="*/ 8933 h 147596"/>
                <a:gd name="connsiteX18" fmla="*/ 179948 w 710151"/>
                <a:gd name="connsiteY18" fmla="*/ 15766 h 147596"/>
                <a:gd name="connsiteX19" fmla="*/ 165126 w 710151"/>
                <a:gd name="connsiteY19" fmla="*/ 17393 h 147596"/>
                <a:gd name="connsiteX20" fmla="*/ 100385 w 710151"/>
                <a:gd name="connsiteY20" fmla="*/ 25009 h 147596"/>
                <a:gd name="connsiteX21" fmla="*/ 78979 w 710151"/>
                <a:gd name="connsiteY21" fmla="*/ 27792 h 147596"/>
                <a:gd name="connsiteX22" fmla="*/ 0 w 710151"/>
                <a:gd name="connsiteY22" fmla="*/ 39309 h 147596"/>
                <a:gd name="connsiteX23" fmla="*/ 214909 w 710151"/>
                <a:gd name="connsiteY23" fmla="*/ 147596 h 147596"/>
                <a:gd name="connsiteX24" fmla="*/ 293826 w 710151"/>
                <a:gd name="connsiteY24" fmla="*/ 136092 h 147596"/>
                <a:gd name="connsiteX25" fmla="*/ 315382 w 710151"/>
                <a:gd name="connsiteY25" fmla="*/ 133284 h 147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10151" h="147596">
                  <a:moveTo>
                    <a:pt x="315382" y="133284"/>
                  </a:moveTo>
                  <a:cubicBezTo>
                    <a:pt x="336949" y="130513"/>
                    <a:pt x="358443" y="127979"/>
                    <a:pt x="379886" y="125693"/>
                  </a:cubicBezTo>
                  <a:cubicBezTo>
                    <a:pt x="384893" y="125159"/>
                    <a:pt x="389913" y="124550"/>
                    <a:pt x="394919" y="124041"/>
                  </a:cubicBezTo>
                  <a:cubicBezTo>
                    <a:pt x="420587" y="121419"/>
                    <a:pt x="446205" y="119170"/>
                    <a:pt x="471848" y="117220"/>
                  </a:cubicBezTo>
                  <a:cubicBezTo>
                    <a:pt x="478160" y="116735"/>
                    <a:pt x="484484" y="116350"/>
                    <a:pt x="490807" y="115903"/>
                  </a:cubicBezTo>
                  <a:cubicBezTo>
                    <a:pt x="511481" y="114474"/>
                    <a:pt x="532191" y="113231"/>
                    <a:pt x="552977" y="112213"/>
                  </a:cubicBezTo>
                  <a:cubicBezTo>
                    <a:pt x="560083" y="111865"/>
                    <a:pt x="567189" y="111467"/>
                    <a:pt x="574333" y="111169"/>
                  </a:cubicBezTo>
                  <a:cubicBezTo>
                    <a:pt x="589540" y="110536"/>
                    <a:pt x="604834" y="110064"/>
                    <a:pt x="620165" y="109641"/>
                  </a:cubicBezTo>
                  <a:cubicBezTo>
                    <a:pt x="627383" y="109442"/>
                    <a:pt x="634552" y="109169"/>
                    <a:pt x="641808" y="109020"/>
                  </a:cubicBezTo>
                  <a:cubicBezTo>
                    <a:pt x="664432" y="108548"/>
                    <a:pt x="687167" y="108274"/>
                    <a:pt x="710152" y="108274"/>
                  </a:cubicBezTo>
                  <a:lnTo>
                    <a:pt x="495243" y="0"/>
                  </a:lnTo>
                  <a:cubicBezTo>
                    <a:pt x="472295" y="0"/>
                    <a:pt x="449585" y="273"/>
                    <a:pt x="426998" y="745"/>
                  </a:cubicBezTo>
                  <a:cubicBezTo>
                    <a:pt x="419606" y="894"/>
                    <a:pt x="412263" y="1168"/>
                    <a:pt x="404896" y="1379"/>
                  </a:cubicBezTo>
                  <a:cubicBezTo>
                    <a:pt x="389701" y="1789"/>
                    <a:pt x="374519" y="2261"/>
                    <a:pt x="359424" y="2895"/>
                  </a:cubicBezTo>
                  <a:cubicBezTo>
                    <a:pt x="356529" y="3019"/>
                    <a:pt x="353572" y="3056"/>
                    <a:pt x="350678" y="3193"/>
                  </a:cubicBezTo>
                  <a:cubicBezTo>
                    <a:pt x="346441" y="3379"/>
                    <a:pt x="342279" y="3727"/>
                    <a:pt x="338055" y="3938"/>
                  </a:cubicBezTo>
                  <a:cubicBezTo>
                    <a:pt x="317258" y="4957"/>
                    <a:pt x="296509" y="6187"/>
                    <a:pt x="275823" y="7628"/>
                  </a:cubicBezTo>
                  <a:cubicBezTo>
                    <a:pt x="269549" y="8075"/>
                    <a:pt x="263238" y="8461"/>
                    <a:pt x="256964" y="8933"/>
                  </a:cubicBezTo>
                  <a:cubicBezTo>
                    <a:pt x="231296" y="10896"/>
                    <a:pt x="205628" y="13145"/>
                    <a:pt x="179948" y="15766"/>
                  </a:cubicBezTo>
                  <a:cubicBezTo>
                    <a:pt x="175028" y="16263"/>
                    <a:pt x="170059" y="16872"/>
                    <a:pt x="165126" y="17393"/>
                  </a:cubicBezTo>
                  <a:cubicBezTo>
                    <a:pt x="143621" y="19692"/>
                    <a:pt x="122028" y="22239"/>
                    <a:pt x="100385" y="25009"/>
                  </a:cubicBezTo>
                  <a:cubicBezTo>
                    <a:pt x="93266" y="25916"/>
                    <a:pt x="86123" y="26836"/>
                    <a:pt x="78979" y="27792"/>
                  </a:cubicBezTo>
                  <a:cubicBezTo>
                    <a:pt x="52814" y="31333"/>
                    <a:pt x="26550" y="35073"/>
                    <a:pt x="0" y="39309"/>
                  </a:cubicBezTo>
                  <a:lnTo>
                    <a:pt x="214909" y="147596"/>
                  </a:lnTo>
                  <a:cubicBezTo>
                    <a:pt x="241447" y="143360"/>
                    <a:pt x="267686" y="139608"/>
                    <a:pt x="293826" y="136092"/>
                  </a:cubicBezTo>
                  <a:cubicBezTo>
                    <a:pt x="301032" y="135110"/>
                    <a:pt x="308200" y="134191"/>
                    <a:pt x="315382" y="133284"/>
                  </a:cubicBezTo>
                  <a:close/>
                </a:path>
              </a:pathLst>
            </a:custGeom>
            <a:solidFill>
              <a:schemeClr val="accent3"/>
            </a:solidFill>
            <a:ln w="12413" cap="flat">
              <a:noFill/>
              <a:prstDash val="solid"/>
              <a:round/>
            </a:ln>
          </p:spPr>
          <p:txBody>
            <a:bodyPr rtlCol="0" anchor="ctr"/>
            <a:lstStyle/>
            <a:p>
              <a:endParaRPr lang="en-US" sz="1350"/>
            </a:p>
          </p:txBody>
        </p:sp>
        <p:sp>
          <p:nvSpPr>
            <p:cNvPr id="120" name="Freeform: Shape 119">
              <a:extLst>
                <a:ext uri="{FF2B5EF4-FFF2-40B4-BE49-F238E27FC236}">
                  <a16:creationId xmlns:a16="http://schemas.microsoft.com/office/drawing/2014/main" id="{2A958AF0-FBE3-420A-897B-49F89421F613}"/>
                </a:ext>
              </a:extLst>
            </p:cNvPr>
            <p:cNvSpPr/>
            <p:nvPr/>
          </p:nvSpPr>
          <p:spPr>
            <a:xfrm>
              <a:off x="4069444" y="498055"/>
              <a:ext cx="1586647" cy="3158560"/>
            </a:xfrm>
            <a:custGeom>
              <a:avLst/>
              <a:gdLst>
                <a:gd name="connsiteX0" fmla="*/ 1139983 w 1586647"/>
                <a:gd name="connsiteY0" fmla="*/ 0 h 3158560"/>
                <a:gd name="connsiteX1" fmla="*/ 1586648 w 1586647"/>
                <a:gd name="connsiteY1" fmla="*/ 3158560 h 3158560"/>
                <a:gd name="connsiteX2" fmla="*/ 0 w 1586647"/>
                <a:gd name="connsiteY2" fmla="*/ 417382 h 3158560"/>
                <a:gd name="connsiteX3" fmla="*/ 1139983 w 1586647"/>
                <a:gd name="connsiteY3" fmla="*/ 0 h 3158560"/>
              </a:gdLst>
              <a:ahLst/>
              <a:cxnLst>
                <a:cxn ang="0">
                  <a:pos x="connsiteX0" y="connsiteY0"/>
                </a:cxn>
                <a:cxn ang="0">
                  <a:pos x="connsiteX1" y="connsiteY1"/>
                </a:cxn>
                <a:cxn ang="0">
                  <a:pos x="connsiteX2" y="connsiteY2"/>
                </a:cxn>
                <a:cxn ang="0">
                  <a:pos x="connsiteX3" y="connsiteY3"/>
                </a:cxn>
              </a:cxnLst>
              <a:rect l="l" t="t" r="r" b="b"/>
              <a:pathLst>
                <a:path w="1586647" h="3158560">
                  <a:moveTo>
                    <a:pt x="1139983" y="0"/>
                  </a:moveTo>
                  <a:lnTo>
                    <a:pt x="1586648" y="3158560"/>
                  </a:lnTo>
                  <a:lnTo>
                    <a:pt x="0" y="417382"/>
                  </a:lnTo>
                  <a:cubicBezTo>
                    <a:pt x="367065" y="196385"/>
                    <a:pt x="719979" y="67164"/>
                    <a:pt x="1139983" y="0"/>
                  </a:cubicBezTo>
                  <a:close/>
                </a:path>
              </a:pathLst>
            </a:custGeom>
            <a:solidFill>
              <a:schemeClr val="accent1"/>
            </a:solidFill>
            <a:ln w="12413" cap="flat">
              <a:noFill/>
              <a:prstDash val="solid"/>
              <a:round/>
            </a:ln>
          </p:spPr>
          <p:txBody>
            <a:bodyPr rtlCol="0" anchor="ctr"/>
            <a:lstStyle/>
            <a:p>
              <a:endParaRPr lang="en-US" sz="1350"/>
            </a:p>
          </p:txBody>
        </p:sp>
        <p:sp>
          <p:nvSpPr>
            <p:cNvPr id="121" name="Freeform: Shape 120">
              <a:extLst>
                <a:ext uri="{FF2B5EF4-FFF2-40B4-BE49-F238E27FC236}">
                  <a16:creationId xmlns:a16="http://schemas.microsoft.com/office/drawing/2014/main" id="{F6FF84BB-76FA-4629-A0CA-1A4B1D8AB376}"/>
                </a:ext>
              </a:extLst>
            </p:cNvPr>
            <p:cNvSpPr/>
            <p:nvPr/>
          </p:nvSpPr>
          <p:spPr>
            <a:xfrm>
              <a:off x="3854523" y="389768"/>
              <a:ext cx="1354903" cy="525668"/>
            </a:xfrm>
            <a:custGeom>
              <a:avLst/>
              <a:gdLst>
                <a:gd name="connsiteX0" fmla="*/ 293205 w 1354903"/>
                <a:gd name="connsiteY0" fmla="*/ 479924 h 525668"/>
                <a:gd name="connsiteX1" fmla="*/ 342503 w 1354903"/>
                <a:gd name="connsiteY1" fmla="*/ 452380 h 525668"/>
                <a:gd name="connsiteX2" fmla="*/ 355796 w 1354903"/>
                <a:gd name="connsiteY2" fmla="*/ 445062 h 525668"/>
                <a:gd name="connsiteX3" fmla="*/ 416425 w 1354903"/>
                <a:gd name="connsiteY3" fmla="*/ 412971 h 525668"/>
                <a:gd name="connsiteX4" fmla="*/ 430129 w 1354903"/>
                <a:gd name="connsiteY4" fmla="*/ 405989 h 525668"/>
                <a:gd name="connsiteX5" fmla="*/ 479029 w 1354903"/>
                <a:gd name="connsiteY5" fmla="*/ 381564 h 525668"/>
                <a:gd name="connsiteX6" fmla="*/ 495938 w 1354903"/>
                <a:gd name="connsiteY6" fmla="*/ 373326 h 525668"/>
                <a:gd name="connsiteX7" fmla="*/ 557089 w 1354903"/>
                <a:gd name="connsiteY7" fmla="*/ 344603 h 525668"/>
                <a:gd name="connsiteX8" fmla="*/ 558990 w 1354903"/>
                <a:gd name="connsiteY8" fmla="*/ 343758 h 525668"/>
                <a:gd name="connsiteX9" fmla="*/ 616786 w 1354903"/>
                <a:gd name="connsiteY9" fmla="*/ 318326 h 525668"/>
                <a:gd name="connsiteX10" fmla="*/ 643609 w 1354903"/>
                <a:gd name="connsiteY10" fmla="*/ 307045 h 525668"/>
                <a:gd name="connsiteX11" fmla="*/ 682707 w 1354903"/>
                <a:gd name="connsiteY11" fmla="*/ 291018 h 525668"/>
                <a:gd name="connsiteX12" fmla="*/ 710388 w 1354903"/>
                <a:gd name="connsiteY12" fmla="*/ 280110 h 525668"/>
                <a:gd name="connsiteX13" fmla="*/ 749349 w 1354903"/>
                <a:gd name="connsiteY13" fmla="*/ 265276 h 525668"/>
                <a:gd name="connsiteX14" fmla="*/ 777154 w 1354903"/>
                <a:gd name="connsiteY14" fmla="*/ 255038 h 525668"/>
                <a:gd name="connsiteX15" fmla="*/ 817059 w 1354903"/>
                <a:gd name="connsiteY15" fmla="*/ 240999 h 525668"/>
                <a:gd name="connsiteX16" fmla="*/ 844280 w 1354903"/>
                <a:gd name="connsiteY16" fmla="*/ 231681 h 525668"/>
                <a:gd name="connsiteX17" fmla="*/ 886758 w 1354903"/>
                <a:gd name="connsiteY17" fmla="*/ 217953 h 525668"/>
                <a:gd name="connsiteX18" fmla="*/ 911929 w 1354903"/>
                <a:gd name="connsiteY18" fmla="*/ 209964 h 525668"/>
                <a:gd name="connsiteX19" fmla="*/ 962494 w 1354903"/>
                <a:gd name="connsiteY19" fmla="*/ 195031 h 525668"/>
                <a:gd name="connsiteX20" fmla="*/ 980298 w 1354903"/>
                <a:gd name="connsiteY20" fmla="*/ 189813 h 525668"/>
                <a:gd name="connsiteX21" fmla="*/ 1049263 w 1354903"/>
                <a:gd name="connsiteY21" fmla="*/ 171289 h 525668"/>
                <a:gd name="connsiteX22" fmla="*/ 1067725 w 1354903"/>
                <a:gd name="connsiteY22" fmla="*/ 166754 h 525668"/>
                <a:gd name="connsiteX23" fmla="*/ 1119930 w 1354903"/>
                <a:gd name="connsiteY23" fmla="*/ 154094 h 525668"/>
                <a:gd name="connsiteX24" fmla="*/ 1139920 w 1354903"/>
                <a:gd name="connsiteY24" fmla="*/ 149609 h 525668"/>
                <a:gd name="connsiteX25" fmla="*/ 1189169 w 1354903"/>
                <a:gd name="connsiteY25" fmla="*/ 138887 h 525668"/>
                <a:gd name="connsiteX26" fmla="*/ 1213010 w 1354903"/>
                <a:gd name="connsiteY26" fmla="*/ 133992 h 525668"/>
                <a:gd name="connsiteX27" fmla="*/ 1262060 w 1354903"/>
                <a:gd name="connsiteY27" fmla="*/ 124500 h 525668"/>
                <a:gd name="connsiteX28" fmla="*/ 1283901 w 1354903"/>
                <a:gd name="connsiteY28" fmla="*/ 120425 h 525668"/>
                <a:gd name="connsiteX29" fmla="*/ 1354904 w 1354903"/>
                <a:gd name="connsiteY29" fmla="*/ 108287 h 525668"/>
                <a:gd name="connsiteX30" fmla="*/ 1139995 w 1354903"/>
                <a:gd name="connsiteY30" fmla="*/ 0 h 525668"/>
                <a:gd name="connsiteX31" fmla="*/ 1068855 w 1354903"/>
                <a:gd name="connsiteY31" fmla="*/ 12163 h 525668"/>
                <a:gd name="connsiteX32" fmla="*/ 1047449 w 1354903"/>
                <a:gd name="connsiteY32" fmla="*/ 16151 h 525668"/>
                <a:gd name="connsiteX33" fmla="*/ 997890 w 1354903"/>
                <a:gd name="connsiteY33" fmla="*/ 25755 h 525668"/>
                <a:gd name="connsiteX34" fmla="*/ 974458 w 1354903"/>
                <a:gd name="connsiteY34" fmla="*/ 30563 h 525668"/>
                <a:gd name="connsiteX35" fmla="*/ 924539 w 1354903"/>
                <a:gd name="connsiteY35" fmla="*/ 41421 h 525668"/>
                <a:gd name="connsiteX36" fmla="*/ 905183 w 1354903"/>
                <a:gd name="connsiteY36" fmla="*/ 45757 h 525668"/>
                <a:gd name="connsiteX37" fmla="*/ 898237 w 1354903"/>
                <a:gd name="connsiteY37" fmla="*/ 47323 h 525668"/>
                <a:gd name="connsiteX38" fmla="*/ 851698 w 1354903"/>
                <a:gd name="connsiteY38" fmla="*/ 58740 h 525668"/>
                <a:gd name="connsiteX39" fmla="*/ 834478 w 1354903"/>
                <a:gd name="connsiteY39" fmla="*/ 62964 h 525668"/>
                <a:gd name="connsiteX40" fmla="*/ 765277 w 1354903"/>
                <a:gd name="connsiteY40" fmla="*/ 81563 h 525668"/>
                <a:gd name="connsiteX41" fmla="*/ 748368 w 1354903"/>
                <a:gd name="connsiteY41" fmla="*/ 86508 h 525668"/>
                <a:gd name="connsiteX42" fmla="*/ 696945 w 1354903"/>
                <a:gd name="connsiteY42" fmla="*/ 101702 h 525668"/>
                <a:gd name="connsiteX43" fmla="*/ 672047 w 1354903"/>
                <a:gd name="connsiteY43" fmla="*/ 109604 h 525668"/>
                <a:gd name="connsiteX44" fmla="*/ 629334 w 1354903"/>
                <a:gd name="connsiteY44" fmla="*/ 123407 h 525668"/>
                <a:gd name="connsiteX45" fmla="*/ 602188 w 1354903"/>
                <a:gd name="connsiteY45" fmla="*/ 132700 h 525668"/>
                <a:gd name="connsiteX46" fmla="*/ 562220 w 1354903"/>
                <a:gd name="connsiteY46" fmla="*/ 146764 h 525668"/>
                <a:gd name="connsiteX47" fmla="*/ 534453 w 1354903"/>
                <a:gd name="connsiteY47" fmla="*/ 156989 h 525668"/>
                <a:gd name="connsiteX48" fmla="*/ 495441 w 1354903"/>
                <a:gd name="connsiteY48" fmla="*/ 171835 h 525668"/>
                <a:gd name="connsiteX49" fmla="*/ 467810 w 1354903"/>
                <a:gd name="connsiteY49" fmla="*/ 182719 h 525668"/>
                <a:gd name="connsiteX50" fmla="*/ 428688 w 1354903"/>
                <a:gd name="connsiteY50" fmla="*/ 198770 h 525668"/>
                <a:gd name="connsiteX51" fmla="*/ 401877 w 1354903"/>
                <a:gd name="connsiteY51" fmla="*/ 210051 h 525668"/>
                <a:gd name="connsiteX52" fmla="*/ 390782 w 1354903"/>
                <a:gd name="connsiteY52" fmla="*/ 214710 h 525668"/>
                <a:gd name="connsiteX53" fmla="*/ 344304 w 1354903"/>
                <a:gd name="connsiteY53" fmla="*/ 235371 h 525668"/>
                <a:gd name="connsiteX54" fmla="*/ 342130 w 1354903"/>
                <a:gd name="connsiteY54" fmla="*/ 236340 h 525668"/>
                <a:gd name="connsiteX55" fmla="*/ 281154 w 1354903"/>
                <a:gd name="connsiteY55" fmla="*/ 264978 h 525668"/>
                <a:gd name="connsiteX56" fmla="*/ 263934 w 1354903"/>
                <a:gd name="connsiteY56" fmla="*/ 273376 h 525668"/>
                <a:gd name="connsiteX57" fmla="*/ 215543 w 1354903"/>
                <a:gd name="connsiteY57" fmla="*/ 297553 h 525668"/>
                <a:gd name="connsiteX58" fmla="*/ 201367 w 1354903"/>
                <a:gd name="connsiteY58" fmla="*/ 304759 h 525668"/>
                <a:gd name="connsiteX59" fmla="*/ 141036 w 1354903"/>
                <a:gd name="connsiteY59" fmla="*/ 336689 h 525668"/>
                <a:gd name="connsiteX60" fmla="*/ 127184 w 1354903"/>
                <a:gd name="connsiteY60" fmla="*/ 344317 h 525668"/>
                <a:gd name="connsiteX61" fmla="*/ 78457 w 1354903"/>
                <a:gd name="connsiteY61" fmla="*/ 371550 h 525668"/>
                <a:gd name="connsiteX62" fmla="*/ 61225 w 1354903"/>
                <a:gd name="connsiteY62" fmla="*/ 381390 h 525668"/>
                <a:gd name="connsiteX63" fmla="*/ 0 w 1354903"/>
                <a:gd name="connsiteY63" fmla="*/ 417382 h 525668"/>
                <a:gd name="connsiteX64" fmla="*/ 214921 w 1354903"/>
                <a:gd name="connsiteY64" fmla="*/ 525669 h 525668"/>
                <a:gd name="connsiteX65" fmla="*/ 276246 w 1354903"/>
                <a:gd name="connsiteY65" fmla="*/ 489615 h 525668"/>
                <a:gd name="connsiteX66" fmla="*/ 293205 w 1354903"/>
                <a:gd name="connsiteY66" fmla="*/ 479924 h 52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354903" h="525668">
                  <a:moveTo>
                    <a:pt x="293205" y="479924"/>
                  </a:moveTo>
                  <a:cubicBezTo>
                    <a:pt x="309654" y="470569"/>
                    <a:pt x="326078" y="461375"/>
                    <a:pt x="342503" y="452380"/>
                  </a:cubicBezTo>
                  <a:cubicBezTo>
                    <a:pt x="346938" y="449957"/>
                    <a:pt x="351361" y="447460"/>
                    <a:pt x="355796" y="445062"/>
                  </a:cubicBezTo>
                  <a:cubicBezTo>
                    <a:pt x="376010" y="434092"/>
                    <a:pt x="396224" y="423395"/>
                    <a:pt x="416425" y="412971"/>
                  </a:cubicBezTo>
                  <a:cubicBezTo>
                    <a:pt x="420997" y="410611"/>
                    <a:pt x="425557" y="408325"/>
                    <a:pt x="430129" y="405989"/>
                  </a:cubicBezTo>
                  <a:cubicBezTo>
                    <a:pt x="446429" y="397678"/>
                    <a:pt x="462729" y="389540"/>
                    <a:pt x="479029" y="381564"/>
                  </a:cubicBezTo>
                  <a:cubicBezTo>
                    <a:pt x="484670" y="378805"/>
                    <a:pt x="490310" y="376035"/>
                    <a:pt x="495938" y="373326"/>
                  </a:cubicBezTo>
                  <a:cubicBezTo>
                    <a:pt x="516301" y="363524"/>
                    <a:pt x="536676" y="353895"/>
                    <a:pt x="557089" y="344603"/>
                  </a:cubicBezTo>
                  <a:lnTo>
                    <a:pt x="558990" y="343758"/>
                  </a:lnTo>
                  <a:cubicBezTo>
                    <a:pt x="578210" y="335024"/>
                    <a:pt x="597491" y="326613"/>
                    <a:pt x="616786" y="318326"/>
                  </a:cubicBezTo>
                  <a:cubicBezTo>
                    <a:pt x="625719" y="314499"/>
                    <a:pt x="634664" y="310784"/>
                    <a:pt x="643609" y="307045"/>
                  </a:cubicBezTo>
                  <a:cubicBezTo>
                    <a:pt x="656617" y="301616"/>
                    <a:pt x="669650" y="296249"/>
                    <a:pt x="682707" y="291018"/>
                  </a:cubicBezTo>
                  <a:cubicBezTo>
                    <a:pt x="691913" y="287328"/>
                    <a:pt x="701144" y="283700"/>
                    <a:pt x="710388" y="280110"/>
                  </a:cubicBezTo>
                  <a:cubicBezTo>
                    <a:pt x="723346" y="275066"/>
                    <a:pt x="736329" y="270121"/>
                    <a:pt x="749349" y="265276"/>
                  </a:cubicBezTo>
                  <a:cubicBezTo>
                    <a:pt x="758605" y="261822"/>
                    <a:pt x="767861" y="258393"/>
                    <a:pt x="777154" y="255038"/>
                  </a:cubicBezTo>
                  <a:cubicBezTo>
                    <a:pt x="790410" y="250243"/>
                    <a:pt x="803729" y="245596"/>
                    <a:pt x="817059" y="240999"/>
                  </a:cubicBezTo>
                  <a:cubicBezTo>
                    <a:pt x="826129" y="237881"/>
                    <a:pt x="835186" y="234725"/>
                    <a:pt x="844280" y="231681"/>
                  </a:cubicBezTo>
                  <a:cubicBezTo>
                    <a:pt x="858382" y="226973"/>
                    <a:pt x="872570" y="222450"/>
                    <a:pt x="886758" y="217953"/>
                  </a:cubicBezTo>
                  <a:cubicBezTo>
                    <a:pt x="895156" y="215282"/>
                    <a:pt x="903505" y="212561"/>
                    <a:pt x="911929" y="209964"/>
                  </a:cubicBezTo>
                  <a:cubicBezTo>
                    <a:pt x="928689" y="204821"/>
                    <a:pt x="945573" y="199901"/>
                    <a:pt x="962494" y="195031"/>
                  </a:cubicBezTo>
                  <a:cubicBezTo>
                    <a:pt x="968433" y="193316"/>
                    <a:pt x="974322" y="191490"/>
                    <a:pt x="980298" y="189813"/>
                  </a:cubicBezTo>
                  <a:cubicBezTo>
                    <a:pt x="1003133" y="183389"/>
                    <a:pt x="1026117" y="177215"/>
                    <a:pt x="1049263" y="171289"/>
                  </a:cubicBezTo>
                  <a:cubicBezTo>
                    <a:pt x="1055375" y="169711"/>
                    <a:pt x="1061587" y="168294"/>
                    <a:pt x="1067725" y="166754"/>
                  </a:cubicBezTo>
                  <a:cubicBezTo>
                    <a:pt x="1085044" y="162431"/>
                    <a:pt x="1102400" y="158144"/>
                    <a:pt x="1119930" y="154094"/>
                  </a:cubicBezTo>
                  <a:cubicBezTo>
                    <a:pt x="1126552" y="152553"/>
                    <a:pt x="1133261" y="151100"/>
                    <a:pt x="1139920" y="149609"/>
                  </a:cubicBezTo>
                  <a:cubicBezTo>
                    <a:pt x="1156245" y="145919"/>
                    <a:pt x="1172657" y="142341"/>
                    <a:pt x="1189169" y="138887"/>
                  </a:cubicBezTo>
                  <a:cubicBezTo>
                    <a:pt x="1197095" y="137222"/>
                    <a:pt x="1205046" y="135607"/>
                    <a:pt x="1213010" y="133992"/>
                  </a:cubicBezTo>
                  <a:cubicBezTo>
                    <a:pt x="1229261" y="130725"/>
                    <a:pt x="1245623" y="127556"/>
                    <a:pt x="1262060" y="124500"/>
                  </a:cubicBezTo>
                  <a:cubicBezTo>
                    <a:pt x="1269340" y="123133"/>
                    <a:pt x="1276583" y="121742"/>
                    <a:pt x="1283901" y="120425"/>
                  </a:cubicBezTo>
                  <a:cubicBezTo>
                    <a:pt x="1307382" y="116188"/>
                    <a:pt x="1331000" y="112113"/>
                    <a:pt x="1354904" y="108287"/>
                  </a:cubicBezTo>
                  <a:lnTo>
                    <a:pt x="1139995" y="0"/>
                  </a:lnTo>
                  <a:cubicBezTo>
                    <a:pt x="1116041" y="3827"/>
                    <a:pt x="1092386" y="7926"/>
                    <a:pt x="1068855" y="12163"/>
                  </a:cubicBezTo>
                  <a:cubicBezTo>
                    <a:pt x="1061687" y="13455"/>
                    <a:pt x="1054580" y="14822"/>
                    <a:pt x="1047449" y="16151"/>
                  </a:cubicBezTo>
                  <a:cubicBezTo>
                    <a:pt x="1030838" y="19257"/>
                    <a:pt x="1014314" y="22438"/>
                    <a:pt x="997890" y="25755"/>
                  </a:cubicBezTo>
                  <a:cubicBezTo>
                    <a:pt x="990063" y="27333"/>
                    <a:pt x="982236" y="28923"/>
                    <a:pt x="974458" y="30563"/>
                  </a:cubicBezTo>
                  <a:cubicBezTo>
                    <a:pt x="957723" y="34054"/>
                    <a:pt x="941088" y="37694"/>
                    <a:pt x="924539" y="41421"/>
                  </a:cubicBezTo>
                  <a:cubicBezTo>
                    <a:pt x="918091" y="42875"/>
                    <a:pt x="911606" y="44279"/>
                    <a:pt x="905183" y="45757"/>
                  </a:cubicBezTo>
                  <a:cubicBezTo>
                    <a:pt x="902872" y="46291"/>
                    <a:pt x="900536" y="46776"/>
                    <a:pt x="898237" y="47323"/>
                  </a:cubicBezTo>
                  <a:cubicBezTo>
                    <a:pt x="882608" y="50975"/>
                    <a:pt x="867165" y="54876"/>
                    <a:pt x="851698" y="58740"/>
                  </a:cubicBezTo>
                  <a:cubicBezTo>
                    <a:pt x="845970" y="60181"/>
                    <a:pt x="840181" y="61511"/>
                    <a:pt x="834478" y="62964"/>
                  </a:cubicBezTo>
                  <a:cubicBezTo>
                    <a:pt x="811245" y="68915"/>
                    <a:pt x="788187" y="75115"/>
                    <a:pt x="765277" y="81563"/>
                  </a:cubicBezTo>
                  <a:cubicBezTo>
                    <a:pt x="759611" y="83153"/>
                    <a:pt x="754008" y="84880"/>
                    <a:pt x="748368" y="86508"/>
                  </a:cubicBezTo>
                  <a:cubicBezTo>
                    <a:pt x="731160" y="91452"/>
                    <a:pt x="713991" y="96472"/>
                    <a:pt x="696945" y="101702"/>
                  </a:cubicBezTo>
                  <a:cubicBezTo>
                    <a:pt x="688609" y="104262"/>
                    <a:pt x="680347" y="106970"/>
                    <a:pt x="672047" y="109604"/>
                  </a:cubicBezTo>
                  <a:cubicBezTo>
                    <a:pt x="657772" y="114126"/>
                    <a:pt x="643510" y="118673"/>
                    <a:pt x="629334" y="123407"/>
                  </a:cubicBezTo>
                  <a:cubicBezTo>
                    <a:pt x="620252" y="126438"/>
                    <a:pt x="611220" y="129594"/>
                    <a:pt x="602188" y="132700"/>
                  </a:cubicBezTo>
                  <a:cubicBezTo>
                    <a:pt x="588832" y="137309"/>
                    <a:pt x="575501" y="141968"/>
                    <a:pt x="562220" y="146764"/>
                  </a:cubicBezTo>
                  <a:cubicBezTo>
                    <a:pt x="552952" y="150106"/>
                    <a:pt x="543696" y="153535"/>
                    <a:pt x="534453" y="156989"/>
                  </a:cubicBezTo>
                  <a:cubicBezTo>
                    <a:pt x="521420" y="161834"/>
                    <a:pt x="508412" y="166791"/>
                    <a:pt x="495441" y="171835"/>
                  </a:cubicBezTo>
                  <a:cubicBezTo>
                    <a:pt x="486223" y="175413"/>
                    <a:pt x="477004" y="179041"/>
                    <a:pt x="467810" y="182719"/>
                  </a:cubicBezTo>
                  <a:cubicBezTo>
                    <a:pt x="454740" y="187962"/>
                    <a:pt x="441708" y="193341"/>
                    <a:pt x="428688" y="198770"/>
                  </a:cubicBezTo>
                  <a:cubicBezTo>
                    <a:pt x="419742" y="202510"/>
                    <a:pt x="410797" y="206212"/>
                    <a:pt x="401877" y="210051"/>
                  </a:cubicBezTo>
                  <a:cubicBezTo>
                    <a:pt x="398187" y="211629"/>
                    <a:pt x="394472" y="213107"/>
                    <a:pt x="390782" y="214710"/>
                  </a:cubicBezTo>
                  <a:cubicBezTo>
                    <a:pt x="375265" y="221444"/>
                    <a:pt x="359772" y="228352"/>
                    <a:pt x="344304" y="235371"/>
                  </a:cubicBezTo>
                  <a:lnTo>
                    <a:pt x="342130" y="236340"/>
                  </a:lnTo>
                  <a:cubicBezTo>
                    <a:pt x="321767" y="245596"/>
                    <a:pt x="301454" y="255200"/>
                    <a:pt x="281154" y="264978"/>
                  </a:cubicBezTo>
                  <a:cubicBezTo>
                    <a:pt x="275414" y="267748"/>
                    <a:pt x="269661" y="270568"/>
                    <a:pt x="263934" y="273376"/>
                  </a:cubicBezTo>
                  <a:cubicBezTo>
                    <a:pt x="247795" y="281265"/>
                    <a:pt x="231657" y="289328"/>
                    <a:pt x="215543" y="297553"/>
                  </a:cubicBezTo>
                  <a:cubicBezTo>
                    <a:pt x="210809" y="299963"/>
                    <a:pt x="206088" y="302312"/>
                    <a:pt x="201367" y="304759"/>
                  </a:cubicBezTo>
                  <a:cubicBezTo>
                    <a:pt x="181265" y="315133"/>
                    <a:pt x="161151" y="325780"/>
                    <a:pt x="141036" y="336689"/>
                  </a:cubicBezTo>
                  <a:cubicBezTo>
                    <a:pt x="136427" y="339198"/>
                    <a:pt x="131806" y="341795"/>
                    <a:pt x="127184" y="344317"/>
                  </a:cubicBezTo>
                  <a:cubicBezTo>
                    <a:pt x="110958" y="353212"/>
                    <a:pt x="94707" y="362294"/>
                    <a:pt x="78457" y="371550"/>
                  </a:cubicBezTo>
                  <a:cubicBezTo>
                    <a:pt x="72717" y="374818"/>
                    <a:pt x="66977" y="378085"/>
                    <a:pt x="61225" y="381390"/>
                  </a:cubicBezTo>
                  <a:cubicBezTo>
                    <a:pt x="40850" y="393143"/>
                    <a:pt x="20450" y="405070"/>
                    <a:pt x="0" y="417382"/>
                  </a:cubicBezTo>
                  <a:lnTo>
                    <a:pt x="214921" y="525669"/>
                  </a:lnTo>
                  <a:cubicBezTo>
                    <a:pt x="235409" y="513332"/>
                    <a:pt x="255833" y="501392"/>
                    <a:pt x="276246" y="489615"/>
                  </a:cubicBezTo>
                  <a:cubicBezTo>
                    <a:pt x="281899" y="486360"/>
                    <a:pt x="287552" y="483142"/>
                    <a:pt x="293205" y="479924"/>
                  </a:cubicBezTo>
                  <a:close/>
                </a:path>
              </a:pathLst>
            </a:custGeom>
            <a:solidFill>
              <a:schemeClr val="accent3"/>
            </a:solidFill>
            <a:ln w="12413" cap="flat">
              <a:noFill/>
              <a:prstDash val="solid"/>
              <a:round/>
            </a:ln>
          </p:spPr>
          <p:txBody>
            <a:bodyPr rtlCol="0" anchor="ctr"/>
            <a:lstStyle/>
            <a:p>
              <a:endParaRPr lang="en-US" sz="1350"/>
            </a:p>
          </p:txBody>
        </p:sp>
        <p:sp>
          <p:nvSpPr>
            <p:cNvPr id="123" name="Freeform: Shape 122">
              <a:extLst>
                <a:ext uri="{FF2B5EF4-FFF2-40B4-BE49-F238E27FC236}">
                  <a16:creationId xmlns:a16="http://schemas.microsoft.com/office/drawing/2014/main" id="{60232947-A14E-4E00-943E-726BCC333EC9}"/>
                </a:ext>
              </a:extLst>
            </p:cNvPr>
            <p:cNvSpPr/>
            <p:nvPr/>
          </p:nvSpPr>
          <p:spPr>
            <a:xfrm>
              <a:off x="2273320" y="2720609"/>
              <a:ext cx="1355434" cy="3421239"/>
            </a:xfrm>
            <a:custGeom>
              <a:avLst/>
              <a:gdLst>
                <a:gd name="connsiteX0" fmla="*/ 1355435 w 1355434"/>
                <a:gd name="connsiteY0" fmla="*/ 3421239 h 3421239"/>
                <a:gd name="connsiteX1" fmla="*/ 1140513 w 1355434"/>
                <a:gd name="connsiteY1" fmla="*/ 3312952 h 3421239"/>
                <a:gd name="connsiteX2" fmla="*/ 126783 w 1355434"/>
                <a:gd name="connsiteY2" fmla="*/ 0 h 3421239"/>
                <a:gd name="connsiteX3" fmla="*/ 341705 w 1355434"/>
                <a:gd name="connsiteY3" fmla="*/ 108274 h 3421239"/>
                <a:gd name="connsiteX4" fmla="*/ 1355435 w 1355434"/>
                <a:gd name="connsiteY4" fmla="*/ 3421239 h 3421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434" h="3421239">
                  <a:moveTo>
                    <a:pt x="1355435" y="3421239"/>
                  </a:moveTo>
                  <a:lnTo>
                    <a:pt x="1140513" y="3312952"/>
                  </a:lnTo>
                  <a:cubicBezTo>
                    <a:pt x="161036" y="2500477"/>
                    <a:pt x="-222516" y="1247126"/>
                    <a:pt x="126783" y="0"/>
                  </a:cubicBezTo>
                  <a:lnTo>
                    <a:pt x="341705" y="108274"/>
                  </a:lnTo>
                  <a:cubicBezTo>
                    <a:pt x="-7594" y="1355388"/>
                    <a:pt x="375957" y="2608764"/>
                    <a:pt x="1355435" y="3421239"/>
                  </a:cubicBezTo>
                  <a:close/>
                </a:path>
              </a:pathLst>
            </a:custGeom>
            <a:solidFill>
              <a:srgbClr val="38638E"/>
            </a:solidFill>
            <a:ln w="12413" cap="flat">
              <a:noFill/>
              <a:prstDash val="solid"/>
              <a:round/>
            </a:ln>
          </p:spPr>
          <p:txBody>
            <a:bodyPr rtlCol="0" anchor="ctr"/>
            <a:lstStyle/>
            <a:p>
              <a:endParaRPr lang="en-US" sz="1350"/>
            </a:p>
          </p:txBody>
        </p:sp>
        <p:sp>
          <p:nvSpPr>
            <p:cNvPr id="124" name="Freeform: Shape 123">
              <a:extLst>
                <a:ext uri="{FF2B5EF4-FFF2-40B4-BE49-F238E27FC236}">
                  <a16:creationId xmlns:a16="http://schemas.microsoft.com/office/drawing/2014/main" id="{13C4A20C-B2F0-48B5-9A19-F9E542EAA9BA}"/>
                </a:ext>
              </a:extLst>
            </p:cNvPr>
            <p:cNvSpPr/>
            <p:nvPr/>
          </p:nvSpPr>
          <p:spPr>
            <a:xfrm>
              <a:off x="2488242" y="2828883"/>
              <a:ext cx="3167849" cy="3312964"/>
            </a:xfrm>
            <a:custGeom>
              <a:avLst/>
              <a:gdLst>
                <a:gd name="connsiteX0" fmla="*/ 126783 w 3167849"/>
                <a:gd name="connsiteY0" fmla="*/ 0 h 3312964"/>
                <a:gd name="connsiteX1" fmla="*/ 3167850 w 3167849"/>
                <a:gd name="connsiteY1" fmla="*/ 827732 h 3312964"/>
                <a:gd name="connsiteX2" fmla="*/ 1140513 w 3167849"/>
                <a:gd name="connsiteY2" fmla="*/ 3312965 h 3312964"/>
                <a:gd name="connsiteX3" fmla="*/ 126783 w 3167849"/>
                <a:gd name="connsiteY3" fmla="*/ 0 h 3312964"/>
              </a:gdLst>
              <a:ahLst/>
              <a:cxnLst>
                <a:cxn ang="0">
                  <a:pos x="connsiteX0" y="connsiteY0"/>
                </a:cxn>
                <a:cxn ang="0">
                  <a:pos x="connsiteX1" y="connsiteY1"/>
                </a:cxn>
                <a:cxn ang="0">
                  <a:pos x="connsiteX2" y="connsiteY2"/>
                </a:cxn>
                <a:cxn ang="0">
                  <a:pos x="connsiteX3" y="connsiteY3"/>
                </a:cxn>
              </a:cxnLst>
              <a:rect l="l" t="t" r="r" b="b"/>
              <a:pathLst>
                <a:path w="3167849" h="3312964">
                  <a:moveTo>
                    <a:pt x="126783" y="0"/>
                  </a:moveTo>
                  <a:lnTo>
                    <a:pt x="3167850" y="827732"/>
                  </a:lnTo>
                  <a:lnTo>
                    <a:pt x="1140513" y="3312965"/>
                  </a:lnTo>
                  <a:cubicBezTo>
                    <a:pt x="161036" y="2500490"/>
                    <a:pt x="-222516" y="1247114"/>
                    <a:pt x="126783" y="0"/>
                  </a:cubicBezTo>
                  <a:close/>
                </a:path>
              </a:pathLst>
            </a:custGeom>
            <a:solidFill>
              <a:schemeClr val="accent1"/>
            </a:solidFill>
            <a:ln w="12413" cap="flat">
              <a:noFill/>
              <a:prstDash val="solid"/>
              <a:round/>
            </a:ln>
          </p:spPr>
          <p:txBody>
            <a:bodyPr rtlCol="0" anchor="ctr"/>
            <a:lstStyle/>
            <a:p>
              <a:endParaRPr lang="en-US" sz="1350"/>
            </a:p>
          </p:txBody>
        </p:sp>
        <p:sp>
          <p:nvSpPr>
            <p:cNvPr id="125" name="Freeform: Shape 124">
              <a:extLst>
                <a:ext uri="{FF2B5EF4-FFF2-40B4-BE49-F238E27FC236}">
                  <a16:creationId xmlns:a16="http://schemas.microsoft.com/office/drawing/2014/main" id="{165D950D-27E8-4C0C-A396-600B2C585AF9}"/>
                </a:ext>
              </a:extLst>
            </p:cNvPr>
            <p:cNvSpPr/>
            <p:nvPr/>
          </p:nvSpPr>
          <p:spPr>
            <a:xfrm>
              <a:off x="2615025" y="915437"/>
              <a:ext cx="3041066" cy="2741178"/>
            </a:xfrm>
            <a:custGeom>
              <a:avLst/>
              <a:gdLst>
                <a:gd name="connsiteX0" fmla="*/ 1454419 w 3041066"/>
                <a:gd name="connsiteY0" fmla="*/ 0 h 2741178"/>
                <a:gd name="connsiteX1" fmla="*/ 3041067 w 3041066"/>
                <a:gd name="connsiteY1" fmla="*/ 2741178 h 2741178"/>
                <a:gd name="connsiteX2" fmla="*/ 0 w 3041066"/>
                <a:gd name="connsiteY2" fmla="*/ 1913447 h 2741178"/>
                <a:gd name="connsiteX3" fmla="*/ 1454419 w 3041066"/>
                <a:gd name="connsiteY3" fmla="*/ 0 h 2741178"/>
              </a:gdLst>
              <a:ahLst/>
              <a:cxnLst>
                <a:cxn ang="0">
                  <a:pos x="connsiteX0" y="connsiteY0"/>
                </a:cxn>
                <a:cxn ang="0">
                  <a:pos x="connsiteX1" y="connsiteY1"/>
                </a:cxn>
                <a:cxn ang="0">
                  <a:pos x="connsiteX2" y="connsiteY2"/>
                </a:cxn>
                <a:cxn ang="0">
                  <a:pos x="connsiteX3" y="connsiteY3"/>
                </a:cxn>
              </a:cxnLst>
              <a:rect l="l" t="t" r="r" b="b"/>
              <a:pathLst>
                <a:path w="3041066" h="2741178">
                  <a:moveTo>
                    <a:pt x="1454419" y="0"/>
                  </a:moveTo>
                  <a:lnTo>
                    <a:pt x="3041067" y="2741178"/>
                  </a:lnTo>
                  <a:lnTo>
                    <a:pt x="0" y="1913447"/>
                  </a:lnTo>
                  <a:cubicBezTo>
                    <a:pt x="232626" y="1082708"/>
                    <a:pt x="718823" y="443000"/>
                    <a:pt x="1454419" y="0"/>
                  </a:cubicBezTo>
                  <a:close/>
                </a:path>
              </a:pathLst>
            </a:custGeom>
            <a:solidFill>
              <a:schemeClr val="accent1"/>
            </a:solidFill>
            <a:ln w="12413" cap="flat">
              <a:noFill/>
              <a:prstDash val="solid"/>
              <a:round/>
            </a:ln>
          </p:spPr>
          <p:txBody>
            <a:bodyPr rtlCol="0" anchor="ctr"/>
            <a:lstStyle/>
            <a:p>
              <a:endParaRPr lang="en-US" sz="1350"/>
            </a:p>
          </p:txBody>
        </p:sp>
        <p:sp>
          <p:nvSpPr>
            <p:cNvPr id="126" name="Freeform: Shape 125">
              <a:extLst>
                <a:ext uri="{FF2B5EF4-FFF2-40B4-BE49-F238E27FC236}">
                  <a16:creationId xmlns:a16="http://schemas.microsoft.com/office/drawing/2014/main" id="{C92C61CD-F097-4C9F-AAEB-A8AC33DF0F2F}"/>
                </a:ext>
              </a:extLst>
            </p:cNvPr>
            <p:cNvSpPr/>
            <p:nvPr/>
          </p:nvSpPr>
          <p:spPr>
            <a:xfrm>
              <a:off x="2400103" y="807150"/>
              <a:ext cx="1669340" cy="2021733"/>
            </a:xfrm>
            <a:custGeom>
              <a:avLst/>
              <a:gdLst>
                <a:gd name="connsiteX0" fmla="*/ 1454420 w 1669340"/>
                <a:gd name="connsiteY0" fmla="*/ 0 h 2021733"/>
                <a:gd name="connsiteX1" fmla="*/ 1246692 w 1669340"/>
                <a:gd name="connsiteY1" fmla="*/ 134961 h 2021733"/>
                <a:gd name="connsiteX2" fmla="*/ 0 w 1669340"/>
                <a:gd name="connsiteY2" fmla="*/ 1913459 h 2021733"/>
                <a:gd name="connsiteX3" fmla="*/ 214922 w 1669340"/>
                <a:gd name="connsiteY3" fmla="*/ 2021734 h 2021733"/>
                <a:gd name="connsiteX4" fmla="*/ 1461601 w 1669340"/>
                <a:gd name="connsiteY4" fmla="*/ 243236 h 2021733"/>
                <a:gd name="connsiteX5" fmla="*/ 1669341 w 1669340"/>
                <a:gd name="connsiteY5" fmla="*/ 108287 h 2021733"/>
                <a:gd name="connsiteX6" fmla="*/ 1454420 w 1669340"/>
                <a:gd name="connsiteY6" fmla="*/ 0 h 2021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9340" h="2021733">
                  <a:moveTo>
                    <a:pt x="1454420" y="0"/>
                  </a:moveTo>
                  <a:cubicBezTo>
                    <a:pt x="1382808" y="43123"/>
                    <a:pt x="1313570" y="88110"/>
                    <a:pt x="1246692" y="134961"/>
                  </a:cubicBezTo>
                  <a:cubicBezTo>
                    <a:pt x="626576" y="569351"/>
                    <a:pt x="209989" y="1163576"/>
                    <a:pt x="0" y="1913459"/>
                  </a:cubicBezTo>
                  <a:lnTo>
                    <a:pt x="214922" y="2021734"/>
                  </a:lnTo>
                  <a:cubicBezTo>
                    <a:pt x="424911" y="1271862"/>
                    <a:pt x="841485" y="677638"/>
                    <a:pt x="1461601" y="243236"/>
                  </a:cubicBezTo>
                  <a:cubicBezTo>
                    <a:pt x="1528491" y="196397"/>
                    <a:pt x="1597730" y="151410"/>
                    <a:pt x="1669341" y="108287"/>
                  </a:cubicBezTo>
                  <a:lnTo>
                    <a:pt x="1454420" y="0"/>
                  </a:lnTo>
                  <a:close/>
                </a:path>
              </a:pathLst>
            </a:custGeom>
            <a:solidFill>
              <a:schemeClr val="accent3"/>
            </a:solidFill>
            <a:ln w="12413" cap="flat">
              <a:noFill/>
              <a:prstDash val="solid"/>
              <a:round/>
            </a:ln>
          </p:spPr>
          <p:txBody>
            <a:bodyPr rtlCol="0" anchor="ctr"/>
            <a:lstStyle/>
            <a:p>
              <a:endParaRPr lang="en-US" sz="1350"/>
            </a:p>
          </p:txBody>
        </p:sp>
        <p:sp>
          <p:nvSpPr>
            <p:cNvPr id="131" name="Freeform: Shape 130">
              <a:extLst>
                <a:ext uri="{FF2B5EF4-FFF2-40B4-BE49-F238E27FC236}">
                  <a16:creationId xmlns:a16="http://schemas.microsoft.com/office/drawing/2014/main" id="{A20F70B5-C57D-426A-8486-591C306BF7FB}"/>
                </a:ext>
              </a:extLst>
            </p:cNvPr>
            <p:cNvSpPr/>
            <p:nvPr/>
          </p:nvSpPr>
          <p:spPr>
            <a:xfrm>
              <a:off x="7222803" y="50819"/>
              <a:ext cx="1005369" cy="375600"/>
            </a:xfrm>
            <a:custGeom>
              <a:avLst/>
              <a:gdLst>
                <a:gd name="connsiteX0" fmla="*/ 214922 w 1005369"/>
                <a:gd name="connsiteY0" fmla="*/ 108287 h 375600"/>
                <a:gd name="connsiteX1" fmla="*/ 0 w 1005369"/>
                <a:gd name="connsiteY1" fmla="*/ 0 h 375600"/>
                <a:gd name="connsiteX2" fmla="*/ 790448 w 1005369"/>
                <a:gd name="connsiteY2" fmla="*/ 267326 h 375600"/>
                <a:gd name="connsiteX3" fmla="*/ 1005369 w 1005369"/>
                <a:gd name="connsiteY3" fmla="*/ 375600 h 375600"/>
                <a:gd name="connsiteX4" fmla="*/ 214922 w 1005369"/>
                <a:gd name="connsiteY4" fmla="*/ 108287 h 37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369" h="375600">
                  <a:moveTo>
                    <a:pt x="214922" y="108287"/>
                  </a:moveTo>
                  <a:lnTo>
                    <a:pt x="0" y="0"/>
                  </a:lnTo>
                  <a:cubicBezTo>
                    <a:pt x="277178" y="51907"/>
                    <a:pt x="542852" y="142577"/>
                    <a:pt x="790448" y="267326"/>
                  </a:cubicBezTo>
                  <a:lnTo>
                    <a:pt x="1005369" y="375600"/>
                  </a:lnTo>
                  <a:cubicBezTo>
                    <a:pt x="757760" y="250851"/>
                    <a:pt x="492099" y="160194"/>
                    <a:pt x="214922" y="108287"/>
                  </a:cubicBezTo>
                  <a:close/>
                </a:path>
              </a:pathLst>
            </a:custGeom>
            <a:solidFill>
              <a:srgbClr val="82233E"/>
            </a:solidFill>
            <a:ln w="12413" cap="flat">
              <a:noFill/>
              <a:prstDash val="solid"/>
              <a:round/>
            </a:ln>
          </p:spPr>
          <p:txBody>
            <a:bodyPr rtlCol="0" anchor="ctr"/>
            <a:lstStyle/>
            <a:p>
              <a:endParaRPr lang="en-US" sz="1350"/>
            </a:p>
          </p:txBody>
        </p:sp>
        <p:sp>
          <p:nvSpPr>
            <p:cNvPr id="132" name="Freeform: Shape 131">
              <a:extLst>
                <a:ext uri="{FF2B5EF4-FFF2-40B4-BE49-F238E27FC236}">
                  <a16:creationId xmlns:a16="http://schemas.microsoft.com/office/drawing/2014/main" id="{EA7881C4-873B-4CBE-9237-DE33307E739F}"/>
                </a:ext>
              </a:extLst>
            </p:cNvPr>
            <p:cNvSpPr/>
            <p:nvPr/>
          </p:nvSpPr>
          <p:spPr>
            <a:xfrm>
              <a:off x="6303097" y="108279"/>
              <a:ext cx="3615369" cy="4801462"/>
            </a:xfrm>
            <a:custGeom>
              <a:avLst/>
              <a:gdLst>
                <a:gd name="connsiteX0" fmla="*/ 585676 w 3615369"/>
                <a:gd name="connsiteY0" fmla="*/ 0 h 4801462"/>
                <a:gd name="connsiteX1" fmla="*/ 3568401 w 3615369"/>
                <a:gd name="connsiteY1" fmla="*/ 2596850 h 4801462"/>
                <a:gd name="connsiteX2" fmla="*/ 3146087 w 3615369"/>
                <a:gd name="connsiteY2" fmla="*/ 4801463 h 4801462"/>
                <a:gd name="connsiteX3" fmla="*/ 502486 w 3615369"/>
                <a:gd name="connsiteY3" fmla="*/ 3194006 h 4801462"/>
                <a:gd name="connsiteX4" fmla="*/ 0 w 3615369"/>
                <a:gd name="connsiteY4" fmla="*/ 56926 h 4801462"/>
                <a:gd name="connsiteX5" fmla="*/ 585676 w 3615369"/>
                <a:gd name="connsiteY5" fmla="*/ 0 h 480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5369" h="4801462">
                  <a:moveTo>
                    <a:pt x="585676" y="0"/>
                  </a:moveTo>
                  <a:cubicBezTo>
                    <a:pt x="2047426" y="-137"/>
                    <a:pt x="3323103" y="1065849"/>
                    <a:pt x="3568401" y="2596850"/>
                  </a:cubicBezTo>
                  <a:cubicBezTo>
                    <a:pt x="3696926" y="3398963"/>
                    <a:pt x="3563456" y="4095821"/>
                    <a:pt x="3146087" y="4801463"/>
                  </a:cubicBezTo>
                  <a:lnTo>
                    <a:pt x="502486" y="3194006"/>
                  </a:lnTo>
                  <a:lnTo>
                    <a:pt x="0" y="56926"/>
                  </a:lnTo>
                  <a:cubicBezTo>
                    <a:pt x="197068" y="18549"/>
                    <a:pt x="393118" y="25"/>
                    <a:pt x="585676" y="0"/>
                  </a:cubicBezTo>
                  <a:close/>
                </a:path>
              </a:pathLst>
            </a:custGeom>
            <a:solidFill>
              <a:srgbClr val="D94367"/>
            </a:solidFill>
            <a:ln w="12413" cap="flat">
              <a:noFill/>
              <a:prstDash val="solid"/>
              <a:round/>
            </a:ln>
          </p:spPr>
          <p:txBody>
            <a:bodyPr rtlCol="0" anchor="ctr"/>
            <a:lstStyle/>
            <a:p>
              <a:endParaRPr lang="en-US" sz="1350"/>
            </a:p>
          </p:txBody>
        </p:sp>
        <p:sp>
          <p:nvSpPr>
            <p:cNvPr id="133" name="Freeform: Shape 132">
              <a:extLst>
                <a:ext uri="{FF2B5EF4-FFF2-40B4-BE49-F238E27FC236}">
                  <a16:creationId xmlns:a16="http://schemas.microsoft.com/office/drawing/2014/main" id="{51BCF780-DCBA-4498-BFB9-3FB297944C07}"/>
                </a:ext>
              </a:extLst>
            </p:cNvPr>
            <p:cNvSpPr/>
            <p:nvPr/>
          </p:nvSpPr>
          <p:spPr>
            <a:xfrm>
              <a:off x="6088188" y="4"/>
              <a:ext cx="3360995" cy="4909737"/>
            </a:xfrm>
            <a:custGeom>
              <a:avLst/>
              <a:gdLst>
                <a:gd name="connsiteX0" fmla="*/ 717395 w 3360995"/>
                <a:gd name="connsiteY0" fmla="*/ 3302281 h 4909737"/>
                <a:gd name="connsiteX1" fmla="*/ 214909 w 3360995"/>
                <a:gd name="connsiteY1" fmla="*/ 165201 h 4909737"/>
                <a:gd name="connsiteX2" fmla="*/ 281663 w 3360995"/>
                <a:gd name="connsiteY2" fmla="*/ 153038 h 4909737"/>
                <a:gd name="connsiteX3" fmla="*/ 302001 w 3360995"/>
                <a:gd name="connsiteY3" fmla="*/ 149646 h 4909737"/>
                <a:gd name="connsiteX4" fmla="*/ 350032 w 3360995"/>
                <a:gd name="connsiteY4" fmla="*/ 142080 h 4909737"/>
                <a:gd name="connsiteX5" fmla="*/ 371438 w 3360995"/>
                <a:gd name="connsiteY5" fmla="*/ 138924 h 4909737"/>
                <a:gd name="connsiteX6" fmla="*/ 426277 w 3360995"/>
                <a:gd name="connsiteY6" fmla="*/ 131632 h 4909737"/>
                <a:gd name="connsiteX7" fmla="*/ 438254 w 3360995"/>
                <a:gd name="connsiteY7" fmla="*/ 130091 h 4909737"/>
                <a:gd name="connsiteX8" fmla="*/ 504188 w 3360995"/>
                <a:gd name="connsiteY8" fmla="*/ 122923 h 4909737"/>
                <a:gd name="connsiteX9" fmla="*/ 522724 w 3360995"/>
                <a:gd name="connsiteY9" fmla="*/ 121233 h 4909737"/>
                <a:gd name="connsiteX10" fmla="*/ 571302 w 3360995"/>
                <a:gd name="connsiteY10" fmla="*/ 117133 h 4909737"/>
                <a:gd name="connsiteX11" fmla="*/ 593218 w 3360995"/>
                <a:gd name="connsiteY11" fmla="*/ 115543 h 4909737"/>
                <a:gd name="connsiteX12" fmla="*/ 642764 w 3360995"/>
                <a:gd name="connsiteY12" fmla="*/ 112561 h 4909737"/>
                <a:gd name="connsiteX13" fmla="*/ 659810 w 3360995"/>
                <a:gd name="connsiteY13" fmla="*/ 111629 h 4909737"/>
                <a:gd name="connsiteX14" fmla="*/ 706102 w 3360995"/>
                <a:gd name="connsiteY14" fmla="*/ 109952 h 4909737"/>
                <a:gd name="connsiteX15" fmla="*/ 730652 w 3360995"/>
                <a:gd name="connsiteY15" fmla="*/ 109132 h 4909737"/>
                <a:gd name="connsiteX16" fmla="*/ 800585 w 3360995"/>
                <a:gd name="connsiteY16" fmla="*/ 108275 h 4909737"/>
                <a:gd name="connsiteX17" fmla="*/ 881540 w 3360995"/>
                <a:gd name="connsiteY17" fmla="*/ 109480 h 4909737"/>
                <a:gd name="connsiteX18" fmla="*/ 906350 w 3360995"/>
                <a:gd name="connsiteY18" fmla="*/ 110337 h 4909737"/>
                <a:gd name="connsiteX19" fmla="*/ 963513 w 3360995"/>
                <a:gd name="connsiteY19" fmla="*/ 112872 h 4909737"/>
                <a:gd name="connsiteX20" fmla="*/ 990498 w 3360995"/>
                <a:gd name="connsiteY20" fmla="*/ 114449 h 4909737"/>
                <a:gd name="connsiteX21" fmla="*/ 1050095 w 3360995"/>
                <a:gd name="connsiteY21" fmla="*/ 118860 h 4909737"/>
                <a:gd name="connsiteX22" fmla="*/ 1071166 w 3360995"/>
                <a:gd name="connsiteY22" fmla="*/ 120574 h 4909737"/>
                <a:gd name="connsiteX23" fmla="*/ 1150331 w 3360995"/>
                <a:gd name="connsiteY23" fmla="*/ 128799 h 4909737"/>
                <a:gd name="connsiteX24" fmla="*/ 1166470 w 3360995"/>
                <a:gd name="connsiteY24" fmla="*/ 130861 h 4909737"/>
                <a:gd name="connsiteX25" fmla="*/ 1229596 w 3360995"/>
                <a:gd name="connsiteY25" fmla="*/ 139310 h 4909737"/>
                <a:gd name="connsiteX26" fmla="*/ 1255550 w 3360995"/>
                <a:gd name="connsiteY26" fmla="*/ 143248 h 4909737"/>
                <a:gd name="connsiteX27" fmla="*/ 1310451 w 3360995"/>
                <a:gd name="connsiteY27" fmla="*/ 152243 h 4909737"/>
                <a:gd name="connsiteX28" fmla="*/ 1335721 w 3360995"/>
                <a:gd name="connsiteY28" fmla="*/ 156666 h 4909737"/>
                <a:gd name="connsiteX29" fmla="*/ 2139984 w 3360995"/>
                <a:gd name="connsiteY29" fmla="*/ 426414 h 4909737"/>
                <a:gd name="connsiteX30" fmla="*/ 1925063 w 3360995"/>
                <a:gd name="connsiteY30" fmla="*/ 318140 h 4909737"/>
                <a:gd name="connsiteX31" fmla="*/ 1135448 w 3360995"/>
                <a:gd name="connsiteY31" fmla="*/ 51237 h 4909737"/>
                <a:gd name="connsiteX32" fmla="*/ 1134615 w 3360995"/>
                <a:gd name="connsiteY32" fmla="*/ 50814 h 4909737"/>
                <a:gd name="connsiteX33" fmla="*/ 1120949 w 3360995"/>
                <a:gd name="connsiteY33" fmla="*/ 48429 h 4909737"/>
                <a:gd name="connsiteX34" fmla="*/ 1095356 w 3360995"/>
                <a:gd name="connsiteY34" fmla="*/ 43931 h 4909737"/>
                <a:gd name="connsiteX35" fmla="*/ 1040703 w 3360995"/>
                <a:gd name="connsiteY35" fmla="*/ 34986 h 4909737"/>
                <a:gd name="connsiteX36" fmla="*/ 1014650 w 3360995"/>
                <a:gd name="connsiteY36" fmla="*/ 31023 h 4909737"/>
                <a:gd name="connsiteX37" fmla="*/ 951599 w 3360995"/>
                <a:gd name="connsiteY37" fmla="*/ 22599 h 4909737"/>
                <a:gd name="connsiteX38" fmla="*/ 935410 w 3360995"/>
                <a:gd name="connsiteY38" fmla="*/ 20524 h 4909737"/>
                <a:gd name="connsiteX39" fmla="*/ 856245 w 3360995"/>
                <a:gd name="connsiteY39" fmla="*/ 12287 h 4909737"/>
                <a:gd name="connsiteX40" fmla="*/ 835124 w 3360995"/>
                <a:gd name="connsiteY40" fmla="*/ 10573 h 4909737"/>
                <a:gd name="connsiteX41" fmla="*/ 775626 w 3360995"/>
                <a:gd name="connsiteY41" fmla="*/ 6162 h 4909737"/>
                <a:gd name="connsiteX42" fmla="*/ 748529 w 3360995"/>
                <a:gd name="connsiteY42" fmla="*/ 4585 h 4909737"/>
                <a:gd name="connsiteX43" fmla="*/ 691504 w 3360995"/>
                <a:gd name="connsiteY43" fmla="*/ 2063 h 4909737"/>
                <a:gd name="connsiteX44" fmla="*/ 666594 w 3360995"/>
                <a:gd name="connsiteY44" fmla="*/ 1193 h 4909737"/>
                <a:gd name="connsiteX45" fmla="*/ 585664 w 3360995"/>
                <a:gd name="connsiteY45" fmla="*/ 0 h 4909737"/>
                <a:gd name="connsiteX46" fmla="*/ 515481 w 3360995"/>
                <a:gd name="connsiteY46" fmla="*/ 857 h 4909737"/>
                <a:gd name="connsiteX47" fmla="*/ 493441 w 3360995"/>
                <a:gd name="connsiteY47" fmla="*/ 1603 h 4909737"/>
                <a:gd name="connsiteX48" fmla="*/ 450281 w 3360995"/>
                <a:gd name="connsiteY48" fmla="*/ 3056 h 4909737"/>
                <a:gd name="connsiteX49" fmla="*/ 444590 w 3360995"/>
                <a:gd name="connsiteY49" fmla="*/ 3367 h 4909737"/>
                <a:gd name="connsiteX50" fmla="*/ 428700 w 3360995"/>
                <a:gd name="connsiteY50" fmla="*/ 4224 h 4909737"/>
                <a:gd name="connsiteX51" fmla="*/ 377924 w 3360995"/>
                <a:gd name="connsiteY51" fmla="*/ 7280 h 4909737"/>
                <a:gd name="connsiteX52" fmla="*/ 356753 w 3360995"/>
                <a:gd name="connsiteY52" fmla="*/ 8821 h 4909737"/>
                <a:gd name="connsiteX53" fmla="*/ 307294 w 3360995"/>
                <a:gd name="connsiteY53" fmla="*/ 12996 h 4909737"/>
                <a:gd name="connsiteX54" fmla="*/ 289453 w 3360995"/>
                <a:gd name="connsiteY54" fmla="*/ 14623 h 4909737"/>
                <a:gd name="connsiteX55" fmla="*/ 223184 w 3360995"/>
                <a:gd name="connsiteY55" fmla="*/ 21817 h 4909737"/>
                <a:gd name="connsiteX56" fmla="*/ 212002 w 3360995"/>
                <a:gd name="connsiteY56" fmla="*/ 23258 h 4909737"/>
                <a:gd name="connsiteX57" fmla="*/ 156380 w 3360995"/>
                <a:gd name="connsiteY57" fmla="*/ 30662 h 4909737"/>
                <a:gd name="connsiteX58" fmla="*/ 135259 w 3360995"/>
                <a:gd name="connsiteY58" fmla="*/ 33781 h 4909737"/>
                <a:gd name="connsiteX59" fmla="*/ 86955 w 3360995"/>
                <a:gd name="connsiteY59" fmla="*/ 41384 h 4909737"/>
                <a:gd name="connsiteX60" fmla="*/ 66804 w 3360995"/>
                <a:gd name="connsiteY60" fmla="*/ 44739 h 4909737"/>
                <a:gd name="connsiteX61" fmla="*/ 0 w 3360995"/>
                <a:gd name="connsiteY61" fmla="*/ 56926 h 4909737"/>
                <a:gd name="connsiteX62" fmla="*/ 502473 w 3360995"/>
                <a:gd name="connsiteY62" fmla="*/ 3193994 h 4909737"/>
                <a:gd name="connsiteX63" fmla="*/ 3146086 w 3360995"/>
                <a:gd name="connsiteY63" fmla="*/ 4801464 h 4909737"/>
                <a:gd name="connsiteX64" fmla="*/ 3360996 w 3360995"/>
                <a:gd name="connsiteY64" fmla="*/ 4909738 h 4909737"/>
                <a:gd name="connsiteX65" fmla="*/ 717395 w 3360995"/>
                <a:gd name="connsiteY65" fmla="*/ 3302281 h 4909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360995" h="4909737">
                  <a:moveTo>
                    <a:pt x="717395" y="3302281"/>
                  </a:moveTo>
                  <a:lnTo>
                    <a:pt x="214909" y="165201"/>
                  </a:lnTo>
                  <a:cubicBezTo>
                    <a:pt x="237173" y="160865"/>
                    <a:pt x="259424" y="156865"/>
                    <a:pt x="281663" y="153038"/>
                  </a:cubicBezTo>
                  <a:cubicBezTo>
                    <a:pt x="288446" y="151858"/>
                    <a:pt x="295217" y="150765"/>
                    <a:pt x="302001" y="149646"/>
                  </a:cubicBezTo>
                  <a:cubicBezTo>
                    <a:pt x="318015" y="147000"/>
                    <a:pt x="334030" y="144478"/>
                    <a:pt x="350032" y="142080"/>
                  </a:cubicBezTo>
                  <a:cubicBezTo>
                    <a:pt x="357163" y="141012"/>
                    <a:pt x="364295" y="139943"/>
                    <a:pt x="371438" y="138924"/>
                  </a:cubicBezTo>
                  <a:cubicBezTo>
                    <a:pt x="389739" y="136328"/>
                    <a:pt x="408015" y="133893"/>
                    <a:pt x="426277" y="131632"/>
                  </a:cubicBezTo>
                  <a:cubicBezTo>
                    <a:pt x="430278" y="131135"/>
                    <a:pt x="434266" y="130563"/>
                    <a:pt x="438254" y="130091"/>
                  </a:cubicBezTo>
                  <a:cubicBezTo>
                    <a:pt x="460245" y="127445"/>
                    <a:pt x="482235" y="125084"/>
                    <a:pt x="504188" y="122923"/>
                  </a:cubicBezTo>
                  <a:cubicBezTo>
                    <a:pt x="510388" y="122314"/>
                    <a:pt x="516550" y="121804"/>
                    <a:pt x="522724" y="121233"/>
                  </a:cubicBezTo>
                  <a:cubicBezTo>
                    <a:pt x="538938" y="119742"/>
                    <a:pt x="555126" y="118363"/>
                    <a:pt x="571302" y="117133"/>
                  </a:cubicBezTo>
                  <a:cubicBezTo>
                    <a:pt x="578607" y="116574"/>
                    <a:pt x="585913" y="116040"/>
                    <a:pt x="593218" y="115543"/>
                  </a:cubicBezTo>
                  <a:cubicBezTo>
                    <a:pt x="609754" y="114400"/>
                    <a:pt x="626265" y="113418"/>
                    <a:pt x="642764" y="112561"/>
                  </a:cubicBezTo>
                  <a:cubicBezTo>
                    <a:pt x="648442" y="112250"/>
                    <a:pt x="654133" y="111890"/>
                    <a:pt x="659810" y="111629"/>
                  </a:cubicBezTo>
                  <a:cubicBezTo>
                    <a:pt x="675278" y="110908"/>
                    <a:pt x="690683" y="110436"/>
                    <a:pt x="706102" y="109952"/>
                  </a:cubicBezTo>
                  <a:cubicBezTo>
                    <a:pt x="714289" y="109704"/>
                    <a:pt x="722476" y="109318"/>
                    <a:pt x="730652" y="109132"/>
                  </a:cubicBezTo>
                  <a:cubicBezTo>
                    <a:pt x="753996" y="108585"/>
                    <a:pt x="777316" y="108275"/>
                    <a:pt x="800585" y="108275"/>
                  </a:cubicBezTo>
                  <a:cubicBezTo>
                    <a:pt x="827645" y="108275"/>
                    <a:pt x="854617" y="108747"/>
                    <a:pt x="881540" y="109480"/>
                  </a:cubicBezTo>
                  <a:cubicBezTo>
                    <a:pt x="889826" y="109691"/>
                    <a:pt x="898089" y="110051"/>
                    <a:pt x="906350" y="110337"/>
                  </a:cubicBezTo>
                  <a:cubicBezTo>
                    <a:pt x="925434" y="111008"/>
                    <a:pt x="944492" y="111840"/>
                    <a:pt x="963513" y="112872"/>
                  </a:cubicBezTo>
                  <a:cubicBezTo>
                    <a:pt x="972508" y="113368"/>
                    <a:pt x="981503" y="113878"/>
                    <a:pt x="990498" y="114449"/>
                  </a:cubicBezTo>
                  <a:cubicBezTo>
                    <a:pt x="1010401" y="115704"/>
                    <a:pt x="1030267" y="117208"/>
                    <a:pt x="1050095" y="118860"/>
                  </a:cubicBezTo>
                  <a:cubicBezTo>
                    <a:pt x="1057103" y="119444"/>
                    <a:pt x="1064147" y="119941"/>
                    <a:pt x="1071166" y="120574"/>
                  </a:cubicBezTo>
                  <a:cubicBezTo>
                    <a:pt x="1097629" y="122985"/>
                    <a:pt x="1124030" y="125705"/>
                    <a:pt x="1150331" y="128799"/>
                  </a:cubicBezTo>
                  <a:cubicBezTo>
                    <a:pt x="1155724" y="129432"/>
                    <a:pt x="1161078" y="130203"/>
                    <a:pt x="1166470" y="130861"/>
                  </a:cubicBezTo>
                  <a:cubicBezTo>
                    <a:pt x="1187566" y="133470"/>
                    <a:pt x="1208613" y="136266"/>
                    <a:pt x="1229596" y="139310"/>
                  </a:cubicBezTo>
                  <a:cubicBezTo>
                    <a:pt x="1238256" y="140577"/>
                    <a:pt x="1246903" y="141919"/>
                    <a:pt x="1255550" y="143248"/>
                  </a:cubicBezTo>
                  <a:cubicBezTo>
                    <a:pt x="1273900" y="146081"/>
                    <a:pt x="1292200" y="149075"/>
                    <a:pt x="1310451" y="152243"/>
                  </a:cubicBezTo>
                  <a:cubicBezTo>
                    <a:pt x="1318875" y="153709"/>
                    <a:pt x="1327310" y="155138"/>
                    <a:pt x="1335721" y="156666"/>
                  </a:cubicBezTo>
                  <a:cubicBezTo>
                    <a:pt x="1617869" y="208138"/>
                    <a:pt x="1888276" y="299591"/>
                    <a:pt x="2139984" y="426414"/>
                  </a:cubicBezTo>
                  <a:cubicBezTo>
                    <a:pt x="2068336" y="390323"/>
                    <a:pt x="1996712" y="354231"/>
                    <a:pt x="1925063" y="318140"/>
                  </a:cubicBezTo>
                  <a:cubicBezTo>
                    <a:pt x="1677727" y="193515"/>
                    <a:pt x="1412290" y="103169"/>
                    <a:pt x="1135448" y="51237"/>
                  </a:cubicBezTo>
                  <a:lnTo>
                    <a:pt x="1134615" y="50814"/>
                  </a:lnTo>
                  <a:cubicBezTo>
                    <a:pt x="1130068" y="49969"/>
                    <a:pt x="1125497" y="49249"/>
                    <a:pt x="1120949" y="48429"/>
                  </a:cubicBezTo>
                  <a:cubicBezTo>
                    <a:pt x="1112439" y="46876"/>
                    <a:pt x="1103891" y="45409"/>
                    <a:pt x="1095356" y="43931"/>
                  </a:cubicBezTo>
                  <a:cubicBezTo>
                    <a:pt x="1077179" y="40775"/>
                    <a:pt x="1058966" y="37794"/>
                    <a:pt x="1040703" y="34986"/>
                  </a:cubicBezTo>
                  <a:cubicBezTo>
                    <a:pt x="1032018" y="33644"/>
                    <a:pt x="1023346" y="32290"/>
                    <a:pt x="1014650" y="31023"/>
                  </a:cubicBezTo>
                  <a:cubicBezTo>
                    <a:pt x="993691" y="27991"/>
                    <a:pt x="972669" y="25183"/>
                    <a:pt x="951599" y="22599"/>
                  </a:cubicBezTo>
                  <a:cubicBezTo>
                    <a:pt x="946194" y="21928"/>
                    <a:pt x="940827" y="21158"/>
                    <a:pt x="935410" y="20524"/>
                  </a:cubicBezTo>
                  <a:cubicBezTo>
                    <a:pt x="909108" y="17418"/>
                    <a:pt x="882720" y="14698"/>
                    <a:pt x="856245" y="12287"/>
                  </a:cubicBezTo>
                  <a:cubicBezTo>
                    <a:pt x="849226" y="11654"/>
                    <a:pt x="842168" y="11169"/>
                    <a:pt x="835124" y="10573"/>
                  </a:cubicBezTo>
                  <a:cubicBezTo>
                    <a:pt x="815333" y="8921"/>
                    <a:pt x="795504" y="7430"/>
                    <a:pt x="775626" y="6162"/>
                  </a:cubicBezTo>
                  <a:cubicBezTo>
                    <a:pt x="766606" y="5591"/>
                    <a:pt x="757574" y="5082"/>
                    <a:pt x="748529" y="4585"/>
                  </a:cubicBezTo>
                  <a:cubicBezTo>
                    <a:pt x="729558" y="3566"/>
                    <a:pt x="710537" y="2733"/>
                    <a:pt x="691504" y="2063"/>
                  </a:cubicBezTo>
                  <a:cubicBezTo>
                    <a:pt x="683192" y="1764"/>
                    <a:pt x="674918" y="1416"/>
                    <a:pt x="666594" y="1193"/>
                  </a:cubicBezTo>
                  <a:cubicBezTo>
                    <a:pt x="639683" y="472"/>
                    <a:pt x="612711" y="0"/>
                    <a:pt x="585664" y="0"/>
                  </a:cubicBezTo>
                  <a:cubicBezTo>
                    <a:pt x="562320" y="0"/>
                    <a:pt x="538913" y="311"/>
                    <a:pt x="515481" y="857"/>
                  </a:cubicBezTo>
                  <a:cubicBezTo>
                    <a:pt x="508151" y="1019"/>
                    <a:pt x="500784" y="1367"/>
                    <a:pt x="493441" y="1603"/>
                  </a:cubicBezTo>
                  <a:cubicBezTo>
                    <a:pt x="479067" y="2038"/>
                    <a:pt x="464705" y="2410"/>
                    <a:pt x="450281" y="3056"/>
                  </a:cubicBezTo>
                  <a:cubicBezTo>
                    <a:pt x="448392" y="3144"/>
                    <a:pt x="446491" y="3267"/>
                    <a:pt x="444590" y="3367"/>
                  </a:cubicBezTo>
                  <a:cubicBezTo>
                    <a:pt x="439310" y="3616"/>
                    <a:pt x="434005" y="3951"/>
                    <a:pt x="428700" y="4224"/>
                  </a:cubicBezTo>
                  <a:cubicBezTo>
                    <a:pt x="411804" y="5106"/>
                    <a:pt x="394857" y="6113"/>
                    <a:pt x="377924" y="7280"/>
                  </a:cubicBezTo>
                  <a:cubicBezTo>
                    <a:pt x="370879" y="7765"/>
                    <a:pt x="363822" y="8287"/>
                    <a:pt x="356753" y="8821"/>
                  </a:cubicBezTo>
                  <a:cubicBezTo>
                    <a:pt x="340292" y="10076"/>
                    <a:pt x="323805" y="11467"/>
                    <a:pt x="307294" y="12996"/>
                  </a:cubicBezTo>
                  <a:cubicBezTo>
                    <a:pt x="301355" y="13542"/>
                    <a:pt x="295416" y="14039"/>
                    <a:pt x="289453" y="14623"/>
                  </a:cubicBezTo>
                  <a:cubicBezTo>
                    <a:pt x="267388" y="16785"/>
                    <a:pt x="245298" y="19170"/>
                    <a:pt x="223184" y="21817"/>
                  </a:cubicBezTo>
                  <a:cubicBezTo>
                    <a:pt x="219456" y="22276"/>
                    <a:pt x="215729" y="22798"/>
                    <a:pt x="212002" y="23258"/>
                  </a:cubicBezTo>
                  <a:cubicBezTo>
                    <a:pt x="193478" y="25556"/>
                    <a:pt x="174941" y="28029"/>
                    <a:pt x="156380" y="30662"/>
                  </a:cubicBezTo>
                  <a:cubicBezTo>
                    <a:pt x="149348" y="31669"/>
                    <a:pt x="142304" y="32725"/>
                    <a:pt x="135259" y="33781"/>
                  </a:cubicBezTo>
                  <a:cubicBezTo>
                    <a:pt x="119170" y="36179"/>
                    <a:pt x="103069" y="38725"/>
                    <a:pt x="86955" y="41384"/>
                  </a:cubicBezTo>
                  <a:cubicBezTo>
                    <a:pt x="80246" y="42503"/>
                    <a:pt x="73525" y="43583"/>
                    <a:pt x="66804" y="44739"/>
                  </a:cubicBezTo>
                  <a:cubicBezTo>
                    <a:pt x="44552" y="48578"/>
                    <a:pt x="22276" y="52578"/>
                    <a:pt x="0" y="56926"/>
                  </a:cubicBezTo>
                  <a:lnTo>
                    <a:pt x="502473" y="3193994"/>
                  </a:lnTo>
                  <a:lnTo>
                    <a:pt x="3146086" y="4801464"/>
                  </a:lnTo>
                  <a:lnTo>
                    <a:pt x="3360996" y="4909738"/>
                  </a:lnTo>
                  <a:lnTo>
                    <a:pt x="717395" y="3302281"/>
                  </a:lnTo>
                  <a:close/>
                </a:path>
              </a:pathLst>
            </a:custGeom>
            <a:solidFill>
              <a:srgbClr val="A23453"/>
            </a:solidFill>
            <a:ln w="12413" cap="flat">
              <a:noFill/>
              <a:prstDash val="solid"/>
              <a:round/>
            </a:ln>
          </p:spPr>
          <p:txBody>
            <a:bodyPr rtlCol="0" anchor="ctr"/>
            <a:lstStyle/>
            <a:p>
              <a:endParaRPr lang="en-US" sz="1350"/>
            </a:p>
          </p:txBody>
        </p:sp>
      </p:grpSp>
    </p:spTree>
    <p:extLst>
      <p:ext uri="{BB962C8B-B14F-4D97-AF65-F5344CB8AC3E}">
        <p14:creationId xmlns:p14="http://schemas.microsoft.com/office/powerpoint/2010/main" val="2982102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32BA01F-DE9D-492A-A6E9-EAEFEE1B8907}"/>
              </a:ext>
            </a:extLst>
          </p:cNvPr>
          <p:cNvSpPr>
            <a:spLocks noGrp="1"/>
          </p:cNvSpPr>
          <p:nvPr>
            <p:ph type="ftr" sz="quarter" idx="13"/>
          </p:nvPr>
        </p:nvSpPr>
        <p:spPr/>
        <p:txBody>
          <a:bodyPr/>
          <a:lstStyle/>
          <a:p>
            <a:r>
              <a:rPr lang="en-GB" noProof="0"/>
              <a:t>Presentation title, date, author</a:t>
            </a:r>
            <a:endParaRPr lang="en-GB" noProof="0" dirty="0"/>
          </a:p>
        </p:txBody>
      </p:sp>
      <p:sp>
        <p:nvSpPr>
          <p:cNvPr id="3" name="Slide Number Placeholder 2">
            <a:extLst>
              <a:ext uri="{FF2B5EF4-FFF2-40B4-BE49-F238E27FC236}">
                <a16:creationId xmlns:a16="http://schemas.microsoft.com/office/drawing/2014/main" id="{40BA4DCE-3210-4589-B182-7D123745F2DA}"/>
              </a:ext>
            </a:extLst>
          </p:cNvPr>
          <p:cNvSpPr>
            <a:spLocks noGrp="1"/>
          </p:cNvSpPr>
          <p:nvPr>
            <p:ph type="sldNum" sz="quarter" idx="14"/>
          </p:nvPr>
        </p:nvSpPr>
        <p:spPr/>
        <p:txBody>
          <a:bodyPr/>
          <a:lstStyle/>
          <a:p>
            <a:fld id="{143B55C4-4F5A-416B-997D-6CE47EB0A945}" type="slidenum">
              <a:rPr lang="en-GB" noProof="0" smtClean="0"/>
              <a:pPr/>
              <a:t>30</a:t>
            </a:fld>
            <a:endParaRPr lang="en-GB" noProof="0" dirty="0"/>
          </a:p>
        </p:txBody>
      </p:sp>
      <p:sp>
        <p:nvSpPr>
          <p:cNvPr id="4" name="Title 3">
            <a:extLst>
              <a:ext uri="{FF2B5EF4-FFF2-40B4-BE49-F238E27FC236}">
                <a16:creationId xmlns:a16="http://schemas.microsoft.com/office/drawing/2014/main" id="{83F78170-F0F1-4B93-A4B3-07D713A87BC2}"/>
              </a:ext>
            </a:extLst>
          </p:cNvPr>
          <p:cNvSpPr>
            <a:spLocks noGrp="1"/>
          </p:cNvSpPr>
          <p:nvPr>
            <p:ph type="title"/>
          </p:nvPr>
        </p:nvSpPr>
        <p:spPr/>
        <p:txBody>
          <a:bodyPr/>
          <a:lstStyle/>
          <a:p>
            <a:r>
              <a:rPr lang="en-US" dirty="0"/>
              <a:t>FTQC energy calculation</a:t>
            </a:r>
          </a:p>
        </p:txBody>
      </p:sp>
      <p:pic>
        <p:nvPicPr>
          <p:cNvPr id="7" name="Picture 6" descr="Number of Toffoli gates and number of logical gates required to simulate P450 with increasing active space size&#10;">
            <a:extLst>
              <a:ext uri="{FF2B5EF4-FFF2-40B4-BE49-F238E27FC236}">
                <a16:creationId xmlns:a16="http://schemas.microsoft.com/office/drawing/2014/main" id="{0DA82535-8D49-41AE-A62F-BE1EC6F4C69E}"/>
              </a:ext>
            </a:extLst>
          </p:cNvPr>
          <p:cNvPicPr>
            <a:picLocks noChangeAspect="1"/>
          </p:cNvPicPr>
          <p:nvPr/>
        </p:nvPicPr>
        <p:blipFill>
          <a:blip r:embed="rId2"/>
          <a:stretch>
            <a:fillRect/>
          </a:stretch>
        </p:blipFill>
        <p:spPr>
          <a:xfrm>
            <a:off x="3280513" y="2397620"/>
            <a:ext cx="5535528" cy="1862247"/>
          </a:xfrm>
          <a:prstGeom prst="rect">
            <a:avLst/>
          </a:prstGeom>
        </p:spPr>
      </p:pic>
      <p:pic>
        <p:nvPicPr>
          <p:cNvPr id="11" name="Picture 10" descr="QPU runtime in hours for 3 flavors of the QPE algorithm (tensor hypercontracted, double factorized, single factorized). ">
            <a:extLst>
              <a:ext uri="{FF2B5EF4-FFF2-40B4-BE49-F238E27FC236}">
                <a16:creationId xmlns:a16="http://schemas.microsoft.com/office/drawing/2014/main" id="{737347B3-5FDB-4B9B-94C9-64EDF4B989C4}"/>
              </a:ext>
            </a:extLst>
          </p:cNvPr>
          <p:cNvPicPr>
            <a:picLocks noChangeAspect="1"/>
          </p:cNvPicPr>
          <p:nvPr/>
        </p:nvPicPr>
        <p:blipFill>
          <a:blip r:embed="rId3"/>
          <a:stretch>
            <a:fillRect/>
          </a:stretch>
        </p:blipFill>
        <p:spPr>
          <a:xfrm>
            <a:off x="244800" y="2397621"/>
            <a:ext cx="2950369" cy="1886630"/>
          </a:xfrm>
          <a:prstGeom prst="rect">
            <a:avLst/>
          </a:prstGeom>
        </p:spPr>
      </p:pic>
      <p:sp>
        <p:nvSpPr>
          <p:cNvPr id="12" name="TextBox 11">
            <a:extLst>
              <a:ext uri="{FF2B5EF4-FFF2-40B4-BE49-F238E27FC236}">
                <a16:creationId xmlns:a16="http://schemas.microsoft.com/office/drawing/2014/main" id="{84C4AC51-19AD-419E-B1D6-0CAC16DED1FB}"/>
              </a:ext>
            </a:extLst>
          </p:cNvPr>
          <p:cNvSpPr txBox="1"/>
          <p:nvPr/>
        </p:nvSpPr>
        <p:spPr>
          <a:xfrm>
            <a:off x="367576" y="912208"/>
            <a:ext cx="5025955" cy="492443"/>
          </a:xfrm>
          <a:prstGeom prst="rect">
            <a:avLst/>
          </a:prstGeom>
          <a:noFill/>
        </p:spPr>
        <p:txBody>
          <a:bodyPr wrap="square" lIns="0" tIns="0" rIns="0" bIns="0" rtlCol="0">
            <a:spAutoFit/>
          </a:bodyPr>
          <a:lstStyle/>
          <a:p>
            <a:r>
              <a:rPr lang="en-US" sz="1400" dirty="0"/>
              <a:t>Everything now depends on the error </a:t>
            </a:r>
            <a:r>
              <a:rPr lang="en-US" dirty="0"/>
              <a:t>correction</a:t>
            </a:r>
            <a:r>
              <a:rPr lang="en-US" sz="1400" dirty="0"/>
              <a:t> code distance needed to sufficiently suppress the noise exponentially</a:t>
            </a:r>
          </a:p>
        </p:txBody>
      </p:sp>
      <p:sp>
        <p:nvSpPr>
          <p:cNvPr id="13" name="TextBox 12">
            <a:extLst>
              <a:ext uri="{FF2B5EF4-FFF2-40B4-BE49-F238E27FC236}">
                <a16:creationId xmlns:a16="http://schemas.microsoft.com/office/drawing/2014/main" id="{53CEA696-415B-4E7F-AA61-066A74676B94}"/>
              </a:ext>
            </a:extLst>
          </p:cNvPr>
          <p:cNvSpPr txBox="1"/>
          <p:nvPr/>
        </p:nvSpPr>
        <p:spPr>
          <a:xfrm>
            <a:off x="1475185" y="4284251"/>
            <a:ext cx="5642308" cy="369332"/>
          </a:xfrm>
          <a:prstGeom prst="rect">
            <a:avLst/>
          </a:prstGeom>
          <a:noFill/>
        </p:spPr>
        <p:txBody>
          <a:bodyPr wrap="square" lIns="0" tIns="0" rIns="0" bIns="0" rtlCol="0">
            <a:spAutoFit/>
          </a:bodyPr>
          <a:lstStyle/>
          <a:p>
            <a:r>
              <a:rPr lang="en-US" sz="1200" dirty="0"/>
              <a:t>Goings, J.J. </a:t>
            </a:r>
            <a:r>
              <a:rPr lang="en-US" sz="1200" i="1" dirty="0"/>
              <a:t>et al. </a:t>
            </a:r>
            <a:r>
              <a:rPr lang="en-US" sz="1200" dirty="0"/>
              <a:t>Reliably </a:t>
            </a:r>
            <a:r>
              <a:rPr lang="en-US" sz="1200" dirty="0" err="1"/>
              <a:t>assessingthe</a:t>
            </a:r>
            <a:r>
              <a:rPr lang="en-US" sz="1200" dirty="0"/>
              <a:t> electronic structure of cytochrome P450 on today’s classical computers and tomorrow’s quantum computers. arXiv:2202.01244</a:t>
            </a:r>
            <a:endParaRPr lang="en-US" sz="1200" i="1" dirty="0"/>
          </a:p>
        </p:txBody>
      </p:sp>
      <p:pic>
        <p:nvPicPr>
          <p:cNvPr id="15" name="Picture 14" descr="The 3 diradical orbitals of P450 depicted as isosurfaces with a ball and stick model of the molecule.">
            <a:extLst>
              <a:ext uri="{FF2B5EF4-FFF2-40B4-BE49-F238E27FC236}">
                <a16:creationId xmlns:a16="http://schemas.microsoft.com/office/drawing/2014/main" id="{8107DEA0-C2FE-4522-A139-F2824FB779B7}"/>
              </a:ext>
            </a:extLst>
          </p:cNvPr>
          <p:cNvPicPr>
            <a:picLocks noChangeAspect="1"/>
          </p:cNvPicPr>
          <p:nvPr/>
        </p:nvPicPr>
        <p:blipFill>
          <a:blip r:embed="rId4"/>
          <a:stretch>
            <a:fillRect/>
          </a:stretch>
        </p:blipFill>
        <p:spPr>
          <a:xfrm>
            <a:off x="4009573" y="1378576"/>
            <a:ext cx="4561668" cy="1119732"/>
          </a:xfrm>
          <a:prstGeom prst="rect">
            <a:avLst/>
          </a:prstGeom>
        </p:spPr>
      </p:pic>
    </p:spTree>
    <p:extLst>
      <p:ext uri="{BB962C8B-B14F-4D97-AF65-F5344CB8AC3E}">
        <p14:creationId xmlns:p14="http://schemas.microsoft.com/office/powerpoint/2010/main" val="418009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34D6D8B-D276-4E1E-9214-94ED6B33C679}"/>
              </a:ext>
            </a:extLst>
          </p:cNvPr>
          <p:cNvSpPr>
            <a:spLocks noGrp="1"/>
          </p:cNvSpPr>
          <p:nvPr>
            <p:ph type="ftr" sz="quarter" idx="11"/>
          </p:nvPr>
        </p:nvSpPr>
        <p:spPr/>
        <p:txBody>
          <a:bodyPr/>
          <a:lstStyle/>
          <a:p>
            <a:r>
              <a:rPr lang="en-GB" noProof="0"/>
              <a:t>Presentation title, date, author</a:t>
            </a:r>
            <a:endParaRPr lang="en-GB" noProof="0" dirty="0"/>
          </a:p>
        </p:txBody>
      </p:sp>
      <p:sp>
        <p:nvSpPr>
          <p:cNvPr id="4" name="Slide Number Placeholder 3">
            <a:extLst>
              <a:ext uri="{FF2B5EF4-FFF2-40B4-BE49-F238E27FC236}">
                <a16:creationId xmlns:a16="http://schemas.microsoft.com/office/drawing/2014/main" id="{2EE50A54-D77B-461E-8DDF-67CABFC87781}"/>
              </a:ext>
            </a:extLst>
          </p:cNvPr>
          <p:cNvSpPr>
            <a:spLocks noGrp="1"/>
          </p:cNvSpPr>
          <p:nvPr>
            <p:ph type="sldNum" sz="quarter" idx="12"/>
          </p:nvPr>
        </p:nvSpPr>
        <p:spPr/>
        <p:txBody>
          <a:bodyPr/>
          <a:lstStyle/>
          <a:p>
            <a:fld id="{143B55C4-4F5A-416B-997D-6CE47EB0A945}" type="slidenum">
              <a:rPr lang="en-GB" noProof="0" smtClean="0"/>
              <a:t>31</a:t>
            </a:fld>
            <a:endParaRPr lang="en-GB" noProof="0" dirty="0"/>
          </a:p>
        </p:txBody>
      </p:sp>
      <p:sp>
        <p:nvSpPr>
          <p:cNvPr id="5" name="Title 4">
            <a:extLst>
              <a:ext uri="{FF2B5EF4-FFF2-40B4-BE49-F238E27FC236}">
                <a16:creationId xmlns:a16="http://schemas.microsoft.com/office/drawing/2014/main" id="{24D7E7BB-AE4C-4663-ADDA-C3C34F53C174}"/>
              </a:ext>
            </a:extLst>
          </p:cNvPr>
          <p:cNvSpPr>
            <a:spLocks noGrp="1"/>
          </p:cNvSpPr>
          <p:nvPr>
            <p:ph type="title"/>
          </p:nvPr>
        </p:nvSpPr>
        <p:spPr/>
        <p:txBody>
          <a:bodyPr/>
          <a:lstStyle/>
          <a:p>
            <a:r>
              <a:rPr lang="en-US" dirty="0"/>
              <a:t>Higher order finite differences</a:t>
            </a:r>
          </a:p>
        </p:txBody>
      </p:sp>
      <p:pic>
        <p:nvPicPr>
          <p:cNvPr id="7" name="Picture 6">
            <a:extLst>
              <a:ext uri="{FF2B5EF4-FFF2-40B4-BE49-F238E27FC236}">
                <a16:creationId xmlns:a16="http://schemas.microsoft.com/office/drawing/2014/main" id="{2C8001F1-5FCC-4D00-80E9-24813DAFC446}"/>
              </a:ext>
            </a:extLst>
          </p:cNvPr>
          <p:cNvPicPr>
            <a:picLocks noChangeAspect="1"/>
          </p:cNvPicPr>
          <p:nvPr/>
        </p:nvPicPr>
        <p:blipFill>
          <a:blip r:embed="rId2"/>
          <a:stretch>
            <a:fillRect/>
          </a:stretch>
        </p:blipFill>
        <p:spPr>
          <a:xfrm>
            <a:off x="241502" y="2698889"/>
            <a:ext cx="5587798" cy="1925556"/>
          </a:xfrm>
          <a:prstGeom prst="rect">
            <a:avLst/>
          </a:prstGeom>
        </p:spPr>
      </p:pic>
      <p:pic>
        <p:nvPicPr>
          <p:cNvPr id="9" name="Picture 8">
            <a:extLst>
              <a:ext uri="{FF2B5EF4-FFF2-40B4-BE49-F238E27FC236}">
                <a16:creationId xmlns:a16="http://schemas.microsoft.com/office/drawing/2014/main" id="{2914018F-249B-4B30-914D-C686063A7810}"/>
              </a:ext>
            </a:extLst>
          </p:cNvPr>
          <p:cNvPicPr>
            <a:picLocks noChangeAspect="1"/>
          </p:cNvPicPr>
          <p:nvPr/>
        </p:nvPicPr>
        <p:blipFill>
          <a:blip r:embed="rId3"/>
          <a:stretch>
            <a:fillRect/>
          </a:stretch>
        </p:blipFill>
        <p:spPr>
          <a:xfrm>
            <a:off x="2134596" y="1848385"/>
            <a:ext cx="6715125" cy="883068"/>
          </a:xfrm>
          <a:prstGeom prst="rect">
            <a:avLst/>
          </a:prstGeom>
        </p:spPr>
      </p:pic>
      <p:pic>
        <p:nvPicPr>
          <p:cNvPr id="11" name="Picture 10">
            <a:extLst>
              <a:ext uri="{FF2B5EF4-FFF2-40B4-BE49-F238E27FC236}">
                <a16:creationId xmlns:a16="http://schemas.microsoft.com/office/drawing/2014/main" id="{A600E3CD-0DAF-4230-9956-B7DA64785264}"/>
              </a:ext>
            </a:extLst>
          </p:cNvPr>
          <p:cNvPicPr>
            <a:picLocks noChangeAspect="1"/>
          </p:cNvPicPr>
          <p:nvPr/>
        </p:nvPicPr>
        <p:blipFill>
          <a:blip r:embed="rId4"/>
          <a:stretch>
            <a:fillRect/>
          </a:stretch>
        </p:blipFill>
        <p:spPr>
          <a:xfrm>
            <a:off x="134133" y="1970126"/>
            <a:ext cx="1947453" cy="728763"/>
          </a:xfrm>
          <a:prstGeom prst="rect">
            <a:avLst/>
          </a:prstGeom>
        </p:spPr>
      </p:pic>
      <p:pic>
        <p:nvPicPr>
          <p:cNvPr id="13" name="Picture 12">
            <a:extLst>
              <a:ext uri="{FF2B5EF4-FFF2-40B4-BE49-F238E27FC236}">
                <a16:creationId xmlns:a16="http://schemas.microsoft.com/office/drawing/2014/main" id="{49EE69BE-36FB-4C26-9A7E-BA1BF86E9783}"/>
              </a:ext>
            </a:extLst>
          </p:cNvPr>
          <p:cNvPicPr>
            <a:picLocks noChangeAspect="1"/>
          </p:cNvPicPr>
          <p:nvPr/>
        </p:nvPicPr>
        <p:blipFill>
          <a:blip r:embed="rId5"/>
          <a:stretch>
            <a:fillRect/>
          </a:stretch>
        </p:blipFill>
        <p:spPr>
          <a:xfrm>
            <a:off x="2314575" y="860929"/>
            <a:ext cx="4948832" cy="829413"/>
          </a:xfrm>
          <a:prstGeom prst="rect">
            <a:avLst/>
          </a:prstGeom>
        </p:spPr>
      </p:pic>
      <p:sp>
        <p:nvSpPr>
          <p:cNvPr id="14" name="TextBox 13">
            <a:extLst>
              <a:ext uri="{FF2B5EF4-FFF2-40B4-BE49-F238E27FC236}">
                <a16:creationId xmlns:a16="http://schemas.microsoft.com/office/drawing/2014/main" id="{87ACEAEE-1E06-49BC-80FF-59DD113908D9}"/>
              </a:ext>
            </a:extLst>
          </p:cNvPr>
          <p:cNvSpPr txBox="1"/>
          <p:nvPr/>
        </p:nvSpPr>
        <p:spPr>
          <a:xfrm>
            <a:off x="5829300" y="4053822"/>
            <a:ext cx="3338100" cy="553998"/>
          </a:xfrm>
          <a:prstGeom prst="rect">
            <a:avLst/>
          </a:prstGeom>
          <a:noFill/>
        </p:spPr>
        <p:txBody>
          <a:bodyPr wrap="square" lIns="0" tIns="0" rIns="0" bIns="0" rtlCol="0">
            <a:spAutoFit/>
          </a:bodyPr>
          <a:lstStyle/>
          <a:p>
            <a:r>
              <a:rPr lang="en-US" sz="1200" dirty="0"/>
              <a:t>O’Brien, T.E. </a:t>
            </a:r>
            <a:r>
              <a:rPr lang="en-US" sz="1200" i="1" dirty="0"/>
              <a:t>et al</a:t>
            </a:r>
            <a:r>
              <a:rPr lang="en-US" sz="1200" dirty="0"/>
              <a:t>. Efficient quantum computation of molecular forces and other energy gradients. arXiv:2111.12437 (2021)</a:t>
            </a:r>
          </a:p>
        </p:txBody>
      </p:sp>
    </p:spTree>
    <p:extLst>
      <p:ext uri="{BB962C8B-B14F-4D97-AF65-F5344CB8AC3E}">
        <p14:creationId xmlns:p14="http://schemas.microsoft.com/office/powerpoint/2010/main" val="1172498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Quantum circuit depicting the quantum walk to estimate the expectation value of an operator.&#10;">
            <a:extLst>
              <a:ext uri="{FF2B5EF4-FFF2-40B4-BE49-F238E27FC236}">
                <a16:creationId xmlns:a16="http://schemas.microsoft.com/office/drawing/2014/main" id="{C40581E5-D56E-4E63-9E7E-9522840758EE}"/>
              </a:ext>
            </a:extLst>
          </p:cNvPr>
          <p:cNvPicPr>
            <a:picLocks noGrp="1" noChangeAspect="1"/>
          </p:cNvPicPr>
          <p:nvPr>
            <p:ph idx="1"/>
          </p:nvPr>
        </p:nvPicPr>
        <p:blipFill>
          <a:blip r:embed="rId2"/>
          <a:stretch>
            <a:fillRect/>
          </a:stretch>
        </p:blipFill>
        <p:spPr>
          <a:xfrm>
            <a:off x="6222546" y="2741054"/>
            <a:ext cx="2732557" cy="1739378"/>
          </a:xfrm>
        </p:spPr>
      </p:pic>
      <p:sp>
        <p:nvSpPr>
          <p:cNvPr id="4" name="Slide Number Placeholder 3">
            <a:extLst>
              <a:ext uri="{FF2B5EF4-FFF2-40B4-BE49-F238E27FC236}">
                <a16:creationId xmlns:a16="http://schemas.microsoft.com/office/drawing/2014/main" id="{2EE50A54-D77B-461E-8DDF-67CABFC87781}"/>
              </a:ext>
            </a:extLst>
          </p:cNvPr>
          <p:cNvSpPr>
            <a:spLocks noGrp="1"/>
          </p:cNvSpPr>
          <p:nvPr>
            <p:ph type="sldNum" sz="quarter" idx="12"/>
          </p:nvPr>
        </p:nvSpPr>
        <p:spPr/>
        <p:txBody>
          <a:bodyPr/>
          <a:lstStyle/>
          <a:p>
            <a:fld id="{143B55C4-4F5A-416B-997D-6CE47EB0A945}" type="slidenum">
              <a:rPr lang="en-GB" noProof="0" smtClean="0"/>
              <a:t>32</a:t>
            </a:fld>
            <a:endParaRPr lang="en-GB" noProof="0" dirty="0"/>
          </a:p>
        </p:txBody>
      </p:sp>
      <p:sp>
        <p:nvSpPr>
          <p:cNvPr id="5" name="Title 4">
            <a:extLst>
              <a:ext uri="{FF2B5EF4-FFF2-40B4-BE49-F238E27FC236}">
                <a16:creationId xmlns:a16="http://schemas.microsoft.com/office/drawing/2014/main" id="{24D7E7BB-AE4C-4663-ADDA-C3C34F53C174}"/>
              </a:ext>
            </a:extLst>
          </p:cNvPr>
          <p:cNvSpPr>
            <a:spLocks noGrp="1"/>
          </p:cNvSpPr>
          <p:nvPr>
            <p:ph type="title"/>
          </p:nvPr>
        </p:nvSpPr>
        <p:spPr/>
        <p:txBody>
          <a:bodyPr/>
          <a:lstStyle/>
          <a:p>
            <a:r>
              <a:rPr lang="en-US" dirty="0" err="1"/>
              <a:t>Knill</a:t>
            </a:r>
            <a:r>
              <a:rPr lang="en-US" dirty="0"/>
              <a:t> expectation value estimation algorithm</a:t>
            </a:r>
          </a:p>
        </p:txBody>
      </p:sp>
      <p:sp>
        <p:nvSpPr>
          <p:cNvPr id="8" name="TextBox 7">
            <a:extLst>
              <a:ext uri="{FF2B5EF4-FFF2-40B4-BE49-F238E27FC236}">
                <a16:creationId xmlns:a16="http://schemas.microsoft.com/office/drawing/2014/main" id="{01CBB079-4566-474E-BAB8-13E657EB6E8D}"/>
              </a:ext>
            </a:extLst>
          </p:cNvPr>
          <p:cNvSpPr txBox="1"/>
          <p:nvPr/>
        </p:nvSpPr>
        <p:spPr>
          <a:xfrm>
            <a:off x="4059151" y="3149078"/>
            <a:ext cx="2163395" cy="923330"/>
          </a:xfrm>
          <a:prstGeom prst="rect">
            <a:avLst/>
          </a:prstGeom>
          <a:noFill/>
        </p:spPr>
        <p:txBody>
          <a:bodyPr wrap="square" lIns="0" tIns="0" rIns="0" bIns="0" rtlCol="0">
            <a:spAutoFit/>
          </a:bodyPr>
          <a:lstStyle/>
          <a:p>
            <a:r>
              <a:rPr lang="en-US" sz="1200" dirty="0"/>
              <a:t>O’Brien, T.E. </a:t>
            </a:r>
            <a:r>
              <a:rPr lang="en-US" sz="1200" i="1" dirty="0"/>
              <a:t>et al</a:t>
            </a:r>
            <a:r>
              <a:rPr lang="en-US" sz="1200" dirty="0"/>
              <a:t>. Efficient quantum computation of molecular forces and other energy gradients. arXiv:2111.12437 (2021)</a:t>
            </a:r>
          </a:p>
        </p:txBody>
      </p:sp>
      <p:pic>
        <p:nvPicPr>
          <p:cNvPr id="2050" name="Picture 2" descr="Basic Knill algorithm diagram.&#10;">
            <a:extLst>
              <a:ext uri="{FF2B5EF4-FFF2-40B4-BE49-F238E27FC236}">
                <a16:creationId xmlns:a16="http://schemas.microsoft.com/office/drawing/2014/main" id="{08F41116-D284-4E06-AB2F-BC1BEAD854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6531" y="874099"/>
            <a:ext cx="2104588" cy="151530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0907D286-42DD-4BC7-A49B-41298BA77DA5}"/>
              </a:ext>
            </a:extLst>
          </p:cNvPr>
          <p:cNvSpPr txBox="1"/>
          <p:nvPr/>
        </p:nvSpPr>
        <p:spPr>
          <a:xfrm>
            <a:off x="3857700" y="1110365"/>
            <a:ext cx="2243062" cy="923330"/>
          </a:xfrm>
          <a:prstGeom prst="rect">
            <a:avLst/>
          </a:prstGeom>
          <a:noFill/>
        </p:spPr>
        <p:txBody>
          <a:bodyPr wrap="square" lIns="0" tIns="0" rIns="0" bIns="0" rtlCol="0">
            <a:spAutoFit/>
          </a:bodyPr>
          <a:lstStyle/>
          <a:p>
            <a:r>
              <a:rPr lang="en-US" sz="1200" dirty="0" err="1"/>
              <a:t>Knill</a:t>
            </a:r>
            <a:r>
              <a:rPr lang="en-US" sz="1200" dirty="0"/>
              <a:t>, E. </a:t>
            </a:r>
            <a:r>
              <a:rPr lang="en-US" sz="1200" i="1" dirty="0"/>
              <a:t>et al</a:t>
            </a:r>
            <a:r>
              <a:rPr lang="en-US" sz="1200" dirty="0"/>
              <a:t>. Optimal quantum measurements of expectation values of observables.</a:t>
            </a:r>
            <a:r>
              <a:rPr lang="en-US" sz="1200" i="1" dirty="0"/>
              <a:t> Phys. Rev. A </a:t>
            </a:r>
            <a:r>
              <a:rPr lang="en-US" sz="1200" dirty="0"/>
              <a:t>(2007)</a:t>
            </a:r>
            <a:r>
              <a:rPr lang="en-US" sz="1200" i="1" dirty="0"/>
              <a:t> </a:t>
            </a:r>
            <a:r>
              <a:rPr lang="en-US" sz="1200" dirty="0"/>
              <a:t>75 012328 doi:10.1103/PhysRevA.75.012328</a:t>
            </a:r>
          </a:p>
        </p:txBody>
      </p:sp>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F7C266A2-2FB1-4533-A5D5-0981607CAEB2}"/>
                  </a:ext>
                </a:extLst>
              </p:cNvPr>
              <p:cNvSpPr txBox="1"/>
              <p:nvPr/>
            </p:nvSpPr>
            <p:spPr>
              <a:xfrm>
                <a:off x="239316" y="1025605"/>
                <a:ext cx="3400500" cy="3885103"/>
              </a:xfrm>
              <a:prstGeom prst="rect">
                <a:avLst/>
              </a:prstGeom>
              <a:noFill/>
            </p:spPr>
            <p:txBody>
              <a:bodyPr wrap="square" lIns="0" tIns="0" rIns="0" bIns="0" rtlCol="0">
                <a:spAutoFit/>
              </a:bodyPr>
              <a:lstStyle/>
              <a:p>
                <a:r>
                  <a:rPr lang="en-US" dirty="0"/>
                  <a:t>We find the expectation value of U through a </a:t>
                </a:r>
                <a:r>
                  <a:rPr lang="en-US" dirty="0" err="1"/>
                  <a:t>Szgedy</a:t>
                </a:r>
                <a:r>
                  <a:rPr lang="en-US" dirty="0"/>
                  <a:t> walk.</a:t>
                </a:r>
              </a:p>
              <a:p>
                <a:endParaRPr lang="en-US" dirty="0"/>
              </a:p>
              <a:p>
                <a14:m>
                  <m:oMath xmlns:m="http://schemas.openxmlformats.org/officeDocument/2006/math">
                    <m:r>
                      <a:rPr lang="en-US" b="0" i="1" smtClean="0">
                        <a:latin typeface="Cambria Math" panose="02040503050406030204" pitchFamily="18" charset="0"/>
                      </a:rPr>
                      <m:t>𝑆</m:t>
                    </m:r>
                    <m:r>
                      <a:rPr lang="en-US" b="0" i="1" smtClean="0">
                        <a:latin typeface="Cambria Math" panose="02040503050406030204" pitchFamily="18" charset="0"/>
                      </a:rPr>
                      <m:t>=</m:t>
                    </m:r>
                    <m:r>
                      <a:rPr lang="en-US" b="0" i="1" smtClean="0">
                        <a:latin typeface="Cambria Math" panose="02040503050406030204" pitchFamily="18" charset="0"/>
                      </a:rPr>
                      <m:t>𝑅𝑈𝑅</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𝑈</m:t>
                        </m:r>
                      </m:e>
                      <m:sup>
                        <m:r>
                          <a:rPr lang="en-US" i="1">
                            <a:latin typeface="Cambria Math" panose="02040503050406030204" pitchFamily="18" charset="0"/>
                          </a:rPr>
                          <m:t>†</m:t>
                        </m:r>
                      </m:sup>
                    </m:sSup>
                  </m:oMath>
                </a14:m>
                <a:r>
                  <a:rPr lang="en-US" dirty="0"/>
                  <a:t> with </a:t>
                </a:r>
                <a14:m>
                  <m:oMath xmlns:m="http://schemas.openxmlformats.org/officeDocument/2006/math">
                    <m:r>
                      <a:rPr lang="en-US" b="0" i="1" smtClean="0">
                        <a:latin typeface="Cambria Math" panose="02040503050406030204" pitchFamily="18" charset="0"/>
                      </a:rPr>
                      <m:t>𝑅</m:t>
                    </m:r>
                    <m:r>
                      <a:rPr lang="en-US" b="0" i="1" smtClean="0">
                        <a:latin typeface="Cambria Math" panose="02040503050406030204" pitchFamily="18" charset="0"/>
                      </a:rPr>
                      <m:t>=1−</m:t>
                    </m:r>
                    <m:d>
                      <m:dPr>
                        <m:begChr m:val="|"/>
                        <m:endChr m:val="|"/>
                        <m:ctrlPr>
                          <a:rPr lang="en-US" b="0" i="1" smtClean="0">
                            <a:latin typeface="Cambria Math" panose="02040503050406030204" pitchFamily="18" charset="0"/>
                          </a:rPr>
                        </m:ctrlPr>
                      </m:dPr>
                      <m:e>
                        <m:d>
                          <m:dPr>
                            <m:begChr m:val=""/>
                            <m:endChr m:val="⟩"/>
                            <m:ctrlPr>
                              <a:rPr lang="en-US" b="0" i="1" smtClean="0">
                                <a:latin typeface="Cambria Math" panose="02040503050406030204" pitchFamily="18" charset="0"/>
                              </a:rPr>
                            </m:ctrlPr>
                          </m:dPr>
                          <m:e>
                            <m:r>
                              <m:rPr>
                                <m:sty m:val="p"/>
                              </m:rPr>
                              <a:rPr lang="en-US" b="0" i="0" smtClean="0">
                                <a:latin typeface="Cambria Math" panose="02040503050406030204" pitchFamily="18" charset="0"/>
                              </a:rPr>
                              <m:t>Ψ</m:t>
                            </m:r>
                          </m:e>
                        </m:d>
                        <m:d>
                          <m:dPr>
                            <m:begChr m:val="⟨"/>
                            <m:endChr m:val=""/>
                            <m:ctrlPr>
                              <a:rPr lang="en-US" b="0" i="1" smtClean="0">
                                <a:latin typeface="Cambria Math" panose="02040503050406030204" pitchFamily="18" charset="0"/>
                              </a:rPr>
                            </m:ctrlPr>
                          </m:dPr>
                          <m:e>
                            <m:r>
                              <m:rPr>
                                <m:sty m:val="p"/>
                              </m:rPr>
                              <a:rPr lang="en-US" b="0" i="0" smtClean="0">
                                <a:latin typeface="Cambria Math" panose="02040503050406030204" pitchFamily="18" charset="0"/>
                              </a:rPr>
                              <m:t>Ψ</m:t>
                            </m:r>
                          </m:e>
                        </m:d>
                      </m:e>
                    </m:d>
                  </m:oMath>
                </a14:m>
                <a:endParaRPr lang="en-US" b="0" dirty="0"/>
              </a:p>
              <a:p>
                <a:endParaRPr lang="en-US" dirty="0"/>
              </a:p>
              <a:p>
                <a:r>
                  <a:rPr lang="en-US" dirty="0"/>
                  <a:t>The eigenvalues of this operator and controlled version in the subspace of </a:t>
                </a:r>
                <a14:m>
                  <m:oMath xmlns:m="http://schemas.openxmlformats.org/officeDocument/2006/math">
                    <m:d>
                      <m:dPr>
                        <m:begChr m:val=""/>
                        <m:endChr m:val="⟩"/>
                        <m:ctrlPr>
                          <a:rPr lang="en-US" i="1" smtClean="0">
                            <a:latin typeface="Cambria Math" panose="02040503050406030204" pitchFamily="18" charset="0"/>
                          </a:rPr>
                        </m:ctrlPr>
                      </m:dPr>
                      <m:e>
                        <m:r>
                          <a:rPr lang="en-US" b="0" i="1" smtClean="0">
                            <a:latin typeface="Cambria Math" panose="02040503050406030204" pitchFamily="18" charset="0"/>
                          </a:rPr>
                          <m:t>|</m:t>
                        </m:r>
                        <m:r>
                          <m:rPr>
                            <m:sty m:val="p"/>
                          </m:rPr>
                          <a:rPr lang="en-US" b="0" i="0" smtClean="0">
                            <a:latin typeface="Cambria Math" panose="02040503050406030204" pitchFamily="18" charset="0"/>
                          </a:rPr>
                          <m:t>Ψ</m:t>
                        </m:r>
                      </m:e>
                    </m:d>
                  </m:oMath>
                </a14:m>
                <a:r>
                  <a:rPr lang="en-US" dirty="0"/>
                  <a:t> and </a:t>
                </a:r>
                <a14:m>
                  <m:oMath xmlns:m="http://schemas.openxmlformats.org/officeDocument/2006/math">
                    <m:d>
                      <m:dPr>
                        <m:begChr m:val=""/>
                        <m:endChr m:val="⟩"/>
                        <m:ctrlPr>
                          <a:rPr lang="en-US" i="1">
                            <a:latin typeface="Cambria Math" panose="02040503050406030204" pitchFamily="18" charset="0"/>
                          </a:rPr>
                        </m:ctrlPr>
                      </m:dPr>
                      <m:e>
                        <m:r>
                          <a:rPr lang="en-US" b="0" i="1" smtClean="0">
                            <a:latin typeface="Cambria Math" panose="02040503050406030204" pitchFamily="18" charset="0"/>
                          </a:rPr>
                          <m:t>𝑈</m:t>
                        </m:r>
                        <m:r>
                          <a:rPr lang="en-US" i="1">
                            <a:latin typeface="Cambria Math" panose="02040503050406030204" pitchFamily="18" charset="0"/>
                          </a:rPr>
                          <m:t>|</m:t>
                        </m:r>
                        <m:r>
                          <m:rPr>
                            <m:sty m:val="p"/>
                          </m:rPr>
                          <a:rPr lang="en-US">
                            <a:latin typeface="Cambria Math" panose="02040503050406030204" pitchFamily="18" charset="0"/>
                          </a:rPr>
                          <m:t>Ψ</m:t>
                        </m:r>
                      </m:e>
                    </m:d>
                  </m:oMath>
                </a14:m>
                <a:r>
                  <a:rPr lang="en-US" dirty="0"/>
                  <a:t> encode the amplitude and phase of the expectation value.</a:t>
                </a:r>
              </a:p>
              <a:p>
                <a:endParaRPr lang="en-US" dirty="0"/>
              </a:p>
              <a:p>
                <a:r>
                  <a:rPr lang="en-US" dirty="0"/>
                  <a:t>We did several updates to this algorithm with the latest techniques.</a:t>
                </a:r>
              </a:p>
            </p:txBody>
          </p:sp>
        </mc:Choice>
        <mc:Fallback>
          <p:sp>
            <p:nvSpPr>
              <p:cNvPr id="2" name="TextBox 1">
                <a:extLst>
                  <a:ext uri="{FF2B5EF4-FFF2-40B4-BE49-F238E27FC236}">
                    <a16:creationId xmlns:a16="http://schemas.microsoft.com/office/drawing/2014/main" id="{F7C266A2-2FB1-4533-A5D5-0981607CAEB2}"/>
                  </a:ext>
                </a:extLst>
              </p:cNvPr>
              <p:cNvSpPr txBox="1">
                <a:spLocks noRot="1" noChangeAspect="1" noMove="1" noResize="1" noEditPoints="1" noAdjustHandles="1" noChangeArrowheads="1" noChangeShapeType="1" noTextEdit="1"/>
              </p:cNvSpPr>
              <p:nvPr/>
            </p:nvSpPr>
            <p:spPr>
              <a:xfrm>
                <a:off x="239316" y="1025605"/>
                <a:ext cx="3400500" cy="3885103"/>
              </a:xfrm>
              <a:prstGeom prst="rect">
                <a:avLst/>
              </a:prstGeom>
              <a:blipFill>
                <a:blip r:embed="rId4"/>
                <a:stretch>
                  <a:fillRect l="-4122" t="-2038" r="-5197" b="-2665"/>
                </a:stretch>
              </a:blipFill>
            </p:spPr>
            <p:txBody>
              <a:bodyPr/>
              <a:lstStyle/>
              <a:p>
                <a:r>
                  <a:rPr lang="en-US">
                    <a:noFill/>
                  </a:rPr>
                  <a:t> </a:t>
                </a:r>
              </a:p>
            </p:txBody>
          </p:sp>
        </mc:Fallback>
      </mc:AlternateContent>
    </p:spTree>
    <p:extLst>
      <p:ext uri="{BB962C8B-B14F-4D97-AF65-F5344CB8AC3E}">
        <p14:creationId xmlns:p14="http://schemas.microsoft.com/office/powerpoint/2010/main" val="78540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34D6D8B-D276-4E1E-9214-94ED6B33C679}"/>
              </a:ext>
            </a:extLst>
          </p:cNvPr>
          <p:cNvSpPr>
            <a:spLocks noGrp="1"/>
          </p:cNvSpPr>
          <p:nvPr>
            <p:ph type="ftr" sz="quarter" idx="11"/>
          </p:nvPr>
        </p:nvSpPr>
        <p:spPr/>
        <p:txBody>
          <a:bodyPr/>
          <a:lstStyle/>
          <a:p>
            <a:r>
              <a:rPr lang="en-GB" noProof="0"/>
              <a:t>Presentation title, date, author</a:t>
            </a:r>
            <a:endParaRPr lang="en-GB" noProof="0" dirty="0"/>
          </a:p>
        </p:txBody>
      </p:sp>
      <p:sp>
        <p:nvSpPr>
          <p:cNvPr id="4" name="Slide Number Placeholder 3">
            <a:extLst>
              <a:ext uri="{FF2B5EF4-FFF2-40B4-BE49-F238E27FC236}">
                <a16:creationId xmlns:a16="http://schemas.microsoft.com/office/drawing/2014/main" id="{2EE50A54-D77B-461E-8DDF-67CABFC87781}"/>
              </a:ext>
            </a:extLst>
          </p:cNvPr>
          <p:cNvSpPr>
            <a:spLocks noGrp="1"/>
          </p:cNvSpPr>
          <p:nvPr>
            <p:ph type="sldNum" sz="quarter" idx="12"/>
          </p:nvPr>
        </p:nvSpPr>
        <p:spPr/>
        <p:txBody>
          <a:bodyPr/>
          <a:lstStyle/>
          <a:p>
            <a:fld id="{143B55C4-4F5A-416B-997D-6CE47EB0A945}" type="slidenum">
              <a:rPr lang="en-GB" noProof="0" smtClean="0"/>
              <a:t>33</a:t>
            </a:fld>
            <a:endParaRPr lang="en-GB" noProof="0" dirty="0"/>
          </a:p>
        </p:txBody>
      </p:sp>
      <p:sp>
        <p:nvSpPr>
          <p:cNvPr id="5" name="Title 4">
            <a:extLst>
              <a:ext uri="{FF2B5EF4-FFF2-40B4-BE49-F238E27FC236}">
                <a16:creationId xmlns:a16="http://schemas.microsoft.com/office/drawing/2014/main" id="{24D7E7BB-AE4C-4663-ADDA-C3C34F53C174}"/>
              </a:ext>
            </a:extLst>
          </p:cNvPr>
          <p:cNvSpPr>
            <a:spLocks noGrp="1"/>
          </p:cNvSpPr>
          <p:nvPr>
            <p:ph type="title"/>
          </p:nvPr>
        </p:nvSpPr>
        <p:spPr/>
        <p:txBody>
          <a:bodyPr/>
          <a:lstStyle/>
          <a:p>
            <a:r>
              <a:rPr lang="en-US" dirty="0"/>
              <a:t>Importance of the 1-norms</a:t>
            </a:r>
          </a:p>
        </p:txBody>
      </p:sp>
      <p:pic>
        <p:nvPicPr>
          <p:cNvPr id="7" name="Picture 6" descr="Graph showing the trends for the one-norms of Hamiltonians and force operators of clusters with 3-20 water molecules.">
            <a:extLst>
              <a:ext uri="{FF2B5EF4-FFF2-40B4-BE49-F238E27FC236}">
                <a16:creationId xmlns:a16="http://schemas.microsoft.com/office/drawing/2014/main" id="{E30CAF60-B0DF-4A9E-84B8-97F02AE77D8C}"/>
              </a:ext>
            </a:extLst>
          </p:cNvPr>
          <p:cNvPicPr>
            <a:picLocks noChangeAspect="1"/>
          </p:cNvPicPr>
          <p:nvPr/>
        </p:nvPicPr>
        <p:blipFill>
          <a:blip r:embed="rId2"/>
          <a:stretch>
            <a:fillRect/>
          </a:stretch>
        </p:blipFill>
        <p:spPr>
          <a:xfrm>
            <a:off x="207170" y="857991"/>
            <a:ext cx="5343828" cy="3293901"/>
          </a:xfrm>
          <a:prstGeom prst="rect">
            <a:avLst/>
          </a:prstGeom>
        </p:spPr>
      </p:pic>
      <p:pic>
        <p:nvPicPr>
          <p:cNvPr id="9" name="Picture 8">
            <a:extLst>
              <a:ext uri="{FF2B5EF4-FFF2-40B4-BE49-F238E27FC236}">
                <a16:creationId xmlns:a16="http://schemas.microsoft.com/office/drawing/2014/main" id="{88FB079C-6187-478B-8A60-2C7D80A3D9EB}"/>
              </a:ext>
            </a:extLst>
          </p:cNvPr>
          <p:cNvPicPr>
            <a:picLocks noChangeAspect="1"/>
          </p:cNvPicPr>
          <p:nvPr/>
        </p:nvPicPr>
        <p:blipFill>
          <a:blip r:embed="rId3"/>
          <a:stretch>
            <a:fillRect/>
          </a:stretch>
        </p:blipFill>
        <p:spPr>
          <a:xfrm>
            <a:off x="5183349" y="1178718"/>
            <a:ext cx="3960651" cy="1434357"/>
          </a:xfrm>
          <a:prstGeom prst="rect">
            <a:avLst/>
          </a:prstGeom>
        </p:spPr>
      </p:pic>
      <p:sp>
        <p:nvSpPr>
          <p:cNvPr id="10" name="TextBox 9">
            <a:extLst>
              <a:ext uri="{FF2B5EF4-FFF2-40B4-BE49-F238E27FC236}">
                <a16:creationId xmlns:a16="http://schemas.microsoft.com/office/drawing/2014/main" id="{47F66211-D97F-42D7-934B-637A38DCD436}"/>
              </a:ext>
            </a:extLst>
          </p:cNvPr>
          <p:cNvSpPr txBox="1"/>
          <p:nvPr/>
        </p:nvSpPr>
        <p:spPr>
          <a:xfrm>
            <a:off x="5598730" y="2928556"/>
            <a:ext cx="3338100" cy="553998"/>
          </a:xfrm>
          <a:prstGeom prst="rect">
            <a:avLst/>
          </a:prstGeom>
          <a:noFill/>
        </p:spPr>
        <p:txBody>
          <a:bodyPr wrap="square" lIns="0" tIns="0" rIns="0" bIns="0" rtlCol="0">
            <a:spAutoFit/>
          </a:bodyPr>
          <a:lstStyle/>
          <a:p>
            <a:r>
              <a:rPr lang="en-US" sz="1200" dirty="0"/>
              <a:t>O’Brien, T.E. </a:t>
            </a:r>
            <a:r>
              <a:rPr lang="en-US" sz="1200" i="1" dirty="0"/>
              <a:t>et al</a:t>
            </a:r>
            <a:r>
              <a:rPr lang="en-US" sz="1200" dirty="0"/>
              <a:t>. Efficient quantum computation of molecular forces and other energy gradients. arXiv:2111.12437 (2021)</a:t>
            </a:r>
          </a:p>
        </p:txBody>
      </p:sp>
    </p:spTree>
    <p:extLst>
      <p:ext uri="{BB962C8B-B14F-4D97-AF65-F5344CB8AC3E}">
        <p14:creationId xmlns:p14="http://schemas.microsoft.com/office/powerpoint/2010/main" val="2247709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FD36D0D-83E3-48DD-B629-CB823FD06C50}"/>
              </a:ext>
            </a:extLst>
          </p:cNvPr>
          <p:cNvSpPr>
            <a:spLocks noGrp="1"/>
          </p:cNvSpPr>
          <p:nvPr>
            <p:ph idx="1"/>
          </p:nvPr>
        </p:nvSpPr>
        <p:spPr/>
        <p:txBody>
          <a:bodyPr/>
          <a:lstStyle/>
          <a:p>
            <a:pPr marL="0" indent="0">
              <a:buNone/>
            </a:pPr>
            <a:r>
              <a:rPr lang="en-US" dirty="0"/>
              <a:t>It is very hard to beat QPE.</a:t>
            </a:r>
          </a:p>
          <a:p>
            <a:pPr marL="0" indent="0">
              <a:buNone/>
            </a:pPr>
            <a:endParaRPr lang="en-US" dirty="0"/>
          </a:p>
          <a:p>
            <a:pPr marL="0" indent="0">
              <a:buNone/>
            </a:pPr>
            <a:r>
              <a:rPr lang="en-US" dirty="0"/>
              <a:t>There are many improvements to make but it is hard if you can not test anything to get real runtimes.</a:t>
            </a:r>
          </a:p>
          <a:p>
            <a:pPr marL="0" indent="0">
              <a:buNone/>
            </a:pPr>
            <a:endParaRPr lang="en-US" dirty="0"/>
          </a:p>
          <a:p>
            <a:pPr marL="0" indent="0">
              <a:buNone/>
            </a:pPr>
            <a:r>
              <a:rPr lang="en-US" dirty="0"/>
              <a:t>There needs to be considerable algorithm development to make these perfect machines do useful things.</a:t>
            </a:r>
          </a:p>
          <a:p>
            <a:pPr marL="0" indent="0">
              <a:buNone/>
            </a:pPr>
            <a:endParaRPr lang="en-US" dirty="0"/>
          </a:p>
          <a:p>
            <a:pPr marL="0" indent="0">
              <a:buNone/>
            </a:pPr>
            <a:r>
              <a:rPr lang="en-US" dirty="0"/>
              <a:t>We are really not that interested in the forces.</a:t>
            </a:r>
          </a:p>
        </p:txBody>
      </p:sp>
      <p:sp>
        <p:nvSpPr>
          <p:cNvPr id="4" name="Slide Number Placeholder 3">
            <a:extLst>
              <a:ext uri="{FF2B5EF4-FFF2-40B4-BE49-F238E27FC236}">
                <a16:creationId xmlns:a16="http://schemas.microsoft.com/office/drawing/2014/main" id="{FFEDC3C3-2CE6-4A18-9FA3-03D473185DEF}"/>
              </a:ext>
            </a:extLst>
          </p:cNvPr>
          <p:cNvSpPr>
            <a:spLocks noGrp="1"/>
          </p:cNvSpPr>
          <p:nvPr>
            <p:ph type="sldNum" sz="quarter" idx="12"/>
          </p:nvPr>
        </p:nvSpPr>
        <p:spPr/>
        <p:txBody>
          <a:bodyPr/>
          <a:lstStyle/>
          <a:p>
            <a:fld id="{143B55C4-4F5A-416B-997D-6CE47EB0A945}" type="slidenum">
              <a:rPr lang="en-GB" noProof="0" smtClean="0"/>
              <a:t>34</a:t>
            </a:fld>
            <a:endParaRPr lang="en-GB" noProof="0" dirty="0"/>
          </a:p>
        </p:txBody>
      </p:sp>
      <p:sp>
        <p:nvSpPr>
          <p:cNvPr id="5" name="Title 4">
            <a:extLst>
              <a:ext uri="{FF2B5EF4-FFF2-40B4-BE49-F238E27FC236}">
                <a16:creationId xmlns:a16="http://schemas.microsoft.com/office/drawing/2014/main" id="{F606E2C2-06F4-48FB-ACE5-8CAC30DF3B74}"/>
              </a:ext>
            </a:extLst>
          </p:cNvPr>
          <p:cNvSpPr>
            <a:spLocks noGrp="1"/>
          </p:cNvSpPr>
          <p:nvPr>
            <p:ph type="title"/>
          </p:nvPr>
        </p:nvSpPr>
        <p:spPr/>
        <p:txBody>
          <a:bodyPr/>
          <a:lstStyle/>
          <a:p>
            <a:r>
              <a:rPr lang="en-US" dirty="0"/>
              <a:t>Conclusions</a:t>
            </a:r>
          </a:p>
        </p:txBody>
      </p:sp>
    </p:spTree>
    <p:extLst>
      <p:ext uri="{BB962C8B-B14F-4D97-AF65-F5344CB8AC3E}">
        <p14:creationId xmlns:p14="http://schemas.microsoft.com/office/powerpoint/2010/main" val="465867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36">
            <a:extLst>
              <a:ext uri="{FF2B5EF4-FFF2-40B4-BE49-F238E27FC236}">
                <a16:creationId xmlns:a16="http://schemas.microsoft.com/office/drawing/2014/main" id="{3464E5DF-3BBB-4818-AC8F-314A48B2C16F}"/>
              </a:ext>
            </a:extLst>
          </p:cNvPr>
          <p:cNvSpPr>
            <a:spLocks noGrp="1"/>
          </p:cNvSpPr>
          <p:nvPr>
            <p:ph type="body" sz="quarter" idx="11"/>
          </p:nvPr>
        </p:nvSpPr>
        <p:spPr/>
        <p:txBody>
          <a:bodyPr/>
          <a:lstStyle/>
          <a:p>
            <a:r>
              <a:rPr lang="en-US" dirty="0"/>
              <a:t>Thank you for your attention</a:t>
            </a:r>
          </a:p>
        </p:txBody>
      </p:sp>
      <p:sp>
        <p:nvSpPr>
          <p:cNvPr id="38" name="Text Placeholder 37">
            <a:extLst>
              <a:ext uri="{FF2B5EF4-FFF2-40B4-BE49-F238E27FC236}">
                <a16:creationId xmlns:a16="http://schemas.microsoft.com/office/drawing/2014/main" id="{C4BCD44C-0DF3-4491-8AAF-7C78AF3FD0B6}"/>
              </a:ext>
            </a:extLst>
          </p:cNvPr>
          <p:cNvSpPr>
            <a:spLocks noGrp="1"/>
          </p:cNvSpPr>
          <p:nvPr>
            <p:ph type="body" sz="quarter" idx="12"/>
          </p:nvPr>
        </p:nvSpPr>
        <p:spPr>
          <a:xfrm>
            <a:off x="351828" y="2788610"/>
            <a:ext cx="5540971" cy="868989"/>
          </a:xfrm>
        </p:spPr>
        <p:txBody>
          <a:bodyPr/>
          <a:lstStyle/>
          <a:p>
            <a:r>
              <a:rPr lang="en-US" dirty="0"/>
              <a:t>Feel free to reach out:</a:t>
            </a:r>
          </a:p>
          <a:p>
            <a:r>
              <a:rPr lang="en-US" dirty="0"/>
              <a:t>matthias.degroote@boehringer-ingelheim.com</a:t>
            </a:r>
          </a:p>
        </p:txBody>
      </p:sp>
    </p:spTree>
    <p:extLst>
      <p:ext uri="{BB962C8B-B14F-4D97-AF65-F5344CB8AC3E}">
        <p14:creationId xmlns:p14="http://schemas.microsoft.com/office/powerpoint/2010/main" val="793548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20173B0-BBBE-4CD2-9C30-5FB513A50991}"/>
              </a:ext>
            </a:extLst>
          </p:cNvPr>
          <p:cNvSpPr>
            <a:spLocks noGrp="1"/>
          </p:cNvSpPr>
          <p:nvPr>
            <p:ph type="sldNum" sz="quarter" idx="12"/>
          </p:nvPr>
        </p:nvSpPr>
        <p:spPr/>
        <p:txBody>
          <a:bodyPr/>
          <a:lstStyle/>
          <a:p>
            <a:fld id="{143B55C4-4F5A-416B-997D-6CE47EB0A945}" type="slidenum">
              <a:rPr lang="en-GB" noProof="0" smtClean="0"/>
              <a:t>4</a:t>
            </a:fld>
            <a:endParaRPr lang="en-GB" noProof="0" dirty="0"/>
          </a:p>
        </p:txBody>
      </p:sp>
      <p:sp>
        <p:nvSpPr>
          <p:cNvPr id="5" name="Title 4">
            <a:extLst>
              <a:ext uri="{FF2B5EF4-FFF2-40B4-BE49-F238E27FC236}">
                <a16:creationId xmlns:a16="http://schemas.microsoft.com/office/drawing/2014/main" id="{C3BBF021-20AD-4685-AF60-6EF3D9FF377A}"/>
              </a:ext>
            </a:extLst>
          </p:cNvPr>
          <p:cNvSpPr>
            <a:spLocks noGrp="1"/>
          </p:cNvSpPr>
          <p:nvPr>
            <p:ph type="title"/>
          </p:nvPr>
        </p:nvSpPr>
        <p:spPr/>
        <p:txBody>
          <a:bodyPr/>
          <a:lstStyle/>
          <a:p>
            <a:r>
              <a:rPr lang="en-US" dirty="0"/>
              <a:t>Molecular dynamics is the driver for most of our computations</a:t>
            </a:r>
          </a:p>
        </p:txBody>
      </p:sp>
      <p:pic>
        <p:nvPicPr>
          <p:cNvPr id="6" name="dadme" descr="A video of a transition state analogue (DADMe-immucilin-H) binding to the purine nucleoside phosphorylase (PNP) enzyme. The video shows several microseconds of simulations during which the DADMe molecule takes on different binding poses at different sites in the enzyme.">
            <a:hlinkClick r:id="" action="ppaction://media"/>
            <a:extLst>
              <a:ext uri="{FF2B5EF4-FFF2-40B4-BE49-F238E27FC236}">
                <a16:creationId xmlns:a16="http://schemas.microsoft.com/office/drawing/2014/main" id="{1FBDC610-2E95-48A5-A0CC-8647BD1F5665}"/>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430057" y="804407"/>
            <a:ext cx="6283887" cy="3534686"/>
          </a:xfrm>
          <a:prstGeom prst="rect">
            <a:avLst/>
          </a:prstGeom>
        </p:spPr>
      </p:pic>
      <p:sp>
        <p:nvSpPr>
          <p:cNvPr id="9" name="TextBox 8">
            <a:extLst>
              <a:ext uri="{FF2B5EF4-FFF2-40B4-BE49-F238E27FC236}">
                <a16:creationId xmlns:a16="http://schemas.microsoft.com/office/drawing/2014/main" id="{B66217D9-7420-4A89-A6CA-81F6070FCEBF}"/>
              </a:ext>
            </a:extLst>
          </p:cNvPr>
          <p:cNvSpPr txBox="1"/>
          <p:nvPr/>
        </p:nvSpPr>
        <p:spPr>
          <a:xfrm>
            <a:off x="1233491" y="4403912"/>
            <a:ext cx="6677019" cy="369332"/>
          </a:xfrm>
          <a:prstGeom prst="rect">
            <a:avLst/>
          </a:prstGeom>
          <a:noFill/>
        </p:spPr>
        <p:txBody>
          <a:bodyPr wrap="square" lIns="0" tIns="0" rIns="0" bIns="0" rtlCol="0">
            <a:spAutoFit/>
          </a:bodyPr>
          <a:lstStyle/>
          <a:p>
            <a:r>
              <a:rPr lang="en-US" sz="1200" b="0" i="0" dirty="0" err="1">
                <a:solidFill>
                  <a:srgbClr val="222222"/>
                </a:solidFill>
                <a:effectLst/>
              </a:rPr>
              <a:t>Decherchi</a:t>
            </a:r>
            <a:r>
              <a:rPr lang="en-US" sz="1200" b="0" i="0" dirty="0">
                <a:solidFill>
                  <a:srgbClr val="222222"/>
                </a:solidFill>
                <a:effectLst/>
              </a:rPr>
              <a:t>, S. </a:t>
            </a:r>
            <a:r>
              <a:rPr lang="en-US" sz="1200" b="0" i="1" dirty="0">
                <a:solidFill>
                  <a:srgbClr val="222222"/>
                </a:solidFill>
                <a:effectLst/>
              </a:rPr>
              <a:t>et al</a:t>
            </a:r>
            <a:r>
              <a:rPr lang="en-US" sz="1200" b="0" i="0" dirty="0">
                <a:solidFill>
                  <a:srgbClr val="222222"/>
                </a:solidFill>
                <a:effectLst/>
              </a:rPr>
              <a:t>. The ligand binding mechanism to purine nucleoside phosphorylase elucidated via molecular dynamics and machine learning. </a:t>
            </a:r>
            <a:r>
              <a:rPr lang="en-US" sz="1200" b="0" i="1" dirty="0">
                <a:solidFill>
                  <a:srgbClr val="222222"/>
                </a:solidFill>
                <a:effectLst/>
              </a:rPr>
              <a:t>Nat. </a:t>
            </a:r>
            <a:r>
              <a:rPr lang="en-US" sz="1200" b="0" i="1" dirty="0" err="1">
                <a:solidFill>
                  <a:srgbClr val="222222"/>
                </a:solidFill>
                <a:effectLst/>
              </a:rPr>
              <a:t>Commun</a:t>
            </a:r>
            <a:r>
              <a:rPr lang="en-US" sz="1200" b="0" i="1" dirty="0">
                <a:solidFill>
                  <a:srgbClr val="222222"/>
                </a:solidFill>
                <a:effectLst/>
              </a:rPr>
              <a:t>.</a:t>
            </a:r>
            <a:r>
              <a:rPr lang="en-US" sz="1200" b="0" i="0" dirty="0">
                <a:solidFill>
                  <a:srgbClr val="222222"/>
                </a:solidFill>
                <a:effectLst/>
              </a:rPr>
              <a:t> 6:6155 </a:t>
            </a:r>
            <a:r>
              <a:rPr lang="en-US" sz="1200" b="0" i="0" dirty="0" err="1">
                <a:solidFill>
                  <a:srgbClr val="222222"/>
                </a:solidFill>
                <a:effectLst/>
              </a:rPr>
              <a:t>doi</a:t>
            </a:r>
            <a:r>
              <a:rPr lang="en-US" sz="1200" b="0" i="0" dirty="0">
                <a:solidFill>
                  <a:srgbClr val="222222"/>
                </a:solidFill>
                <a:effectLst/>
              </a:rPr>
              <a:t>: 10.1038/ncomms7155 (2015).</a:t>
            </a:r>
            <a:endParaRPr lang="en-US" sz="1200" dirty="0"/>
          </a:p>
        </p:txBody>
      </p:sp>
    </p:spTree>
    <p:extLst>
      <p:ext uri="{BB962C8B-B14F-4D97-AF65-F5344CB8AC3E}">
        <p14:creationId xmlns:p14="http://schemas.microsoft.com/office/powerpoint/2010/main" val="2139873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4516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673B05-EEC7-4328-B565-35671C066075}"/>
              </a:ext>
            </a:extLst>
          </p:cNvPr>
          <p:cNvSpPr>
            <a:spLocks noGrp="1"/>
          </p:cNvSpPr>
          <p:nvPr>
            <p:ph idx="1"/>
          </p:nvPr>
        </p:nvSpPr>
        <p:spPr>
          <a:xfrm>
            <a:off x="367575" y="783291"/>
            <a:ext cx="8408850" cy="3394472"/>
          </a:xfrm>
        </p:spPr>
        <p:txBody>
          <a:bodyPr/>
          <a:lstStyle/>
          <a:p>
            <a:pPr marL="0" indent="0">
              <a:buNone/>
            </a:pPr>
            <a:r>
              <a:rPr lang="en-US" sz="1600" dirty="0"/>
              <a:t>Dynamical processes like chemical reactions</a:t>
            </a:r>
          </a:p>
          <a:p>
            <a:r>
              <a:rPr lang="en-US" sz="1400" dirty="0"/>
              <a:t>MD is used to propagate the atoms to the next time step in the simulation</a:t>
            </a:r>
          </a:p>
          <a:p>
            <a:pPr marL="0" indent="0">
              <a:buNone/>
            </a:pPr>
            <a:endParaRPr lang="en-US" sz="1400" dirty="0"/>
          </a:p>
          <a:p>
            <a:pPr marL="0" indent="0">
              <a:buNone/>
            </a:pPr>
            <a:r>
              <a:rPr lang="en-US" sz="1600" dirty="0"/>
              <a:t>Thermodynamic quantities like binding free energy</a:t>
            </a:r>
          </a:p>
          <a:p>
            <a:r>
              <a:rPr lang="en-US" sz="1400" dirty="0"/>
              <a:t>For an ergodic process time averages equal ensemble averages</a:t>
            </a:r>
          </a:p>
          <a:p>
            <a:pPr marL="0" indent="0">
              <a:buNone/>
            </a:pPr>
            <a:endParaRPr lang="en-US" sz="1400" dirty="0"/>
          </a:p>
          <a:p>
            <a:pPr marL="0" indent="0">
              <a:buNone/>
            </a:pPr>
            <a:r>
              <a:rPr lang="en-US" sz="1600" dirty="0"/>
              <a:t>Conformational sampling</a:t>
            </a:r>
          </a:p>
          <a:p>
            <a:r>
              <a:rPr lang="en-US" sz="1600" dirty="0"/>
              <a:t>M</a:t>
            </a:r>
            <a:r>
              <a:rPr lang="en-US" sz="1400" dirty="0"/>
              <a:t>D is used to visit many conformations</a:t>
            </a:r>
          </a:p>
          <a:p>
            <a:r>
              <a:rPr lang="en-US" sz="1400" dirty="0"/>
              <a:t>Cluster analysis is used to select representative molecules for each cluster</a:t>
            </a:r>
          </a:p>
          <a:p>
            <a:pPr marL="0" indent="0">
              <a:buNone/>
            </a:pPr>
            <a:endParaRPr lang="en-US" sz="1400" dirty="0"/>
          </a:p>
          <a:p>
            <a:pPr marL="0" indent="0">
              <a:buNone/>
            </a:pPr>
            <a:r>
              <a:rPr lang="en-US" sz="1600" dirty="0"/>
              <a:t>Find energy minima through simulated annealing</a:t>
            </a:r>
          </a:p>
          <a:p>
            <a:r>
              <a:rPr lang="en-US" sz="1400" dirty="0"/>
              <a:t>Increase temperature to access all configurations</a:t>
            </a:r>
          </a:p>
          <a:p>
            <a:r>
              <a:rPr lang="en-US" sz="1400" dirty="0"/>
              <a:t>Slowly lower the temperature to only keep the minimum</a:t>
            </a:r>
          </a:p>
          <a:p>
            <a:endParaRPr lang="en-US" sz="1600" dirty="0"/>
          </a:p>
          <a:p>
            <a:pPr marL="0" indent="0">
              <a:buNone/>
            </a:pPr>
            <a:endParaRPr lang="en-US" dirty="0"/>
          </a:p>
          <a:p>
            <a:endParaRPr lang="en-US" dirty="0"/>
          </a:p>
        </p:txBody>
      </p:sp>
      <p:sp>
        <p:nvSpPr>
          <p:cNvPr id="4" name="Slide Number Placeholder 3">
            <a:extLst>
              <a:ext uri="{FF2B5EF4-FFF2-40B4-BE49-F238E27FC236}">
                <a16:creationId xmlns:a16="http://schemas.microsoft.com/office/drawing/2014/main" id="{920173B0-BBBE-4CD2-9C30-5FB513A50991}"/>
              </a:ext>
            </a:extLst>
          </p:cNvPr>
          <p:cNvSpPr>
            <a:spLocks noGrp="1"/>
          </p:cNvSpPr>
          <p:nvPr>
            <p:ph type="sldNum" sz="quarter" idx="12"/>
          </p:nvPr>
        </p:nvSpPr>
        <p:spPr/>
        <p:txBody>
          <a:bodyPr/>
          <a:lstStyle/>
          <a:p>
            <a:fld id="{143B55C4-4F5A-416B-997D-6CE47EB0A945}" type="slidenum">
              <a:rPr lang="en-GB" noProof="0" smtClean="0"/>
              <a:t>5</a:t>
            </a:fld>
            <a:endParaRPr lang="en-GB" noProof="0" dirty="0"/>
          </a:p>
        </p:txBody>
      </p:sp>
      <p:sp>
        <p:nvSpPr>
          <p:cNvPr id="5" name="Title 4">
            <a:extLst>
              <a:ext uri="{FF2B5EF4-FFF2-40B4-BE49-F238E27FC236}">
                <a16:creationId xmlns:a16="http://schemas.microsoft.com/office/drawing/2014/main" id="{C3BBF021-20AD-4685-AF60-6EF3D9FF377A}"/>
              </a:ext>
            </a:extLst>
          </p:cNvPr>
          <p:cNvSpPr>
            <a:spLocks noGrp="1"/>
          </p:cNvSpPr>
          <p:nvPr>
            <p:ph type="title"/>
          </p:nvPr>
        </p:nvSpPr>
        <p:spPr/>
        <p:txBody>
          <a:bodyPr/>
          <a:lstStyle/>
          <a:p>
            <a:r>
              <a:rPr lang="en-US" dirty="0"/>
              <a:t>Motivation: where do we need Molecular Dynamics?</a:t>
            </a:r>
          </a:p>
        </p:txBody>
      </p:sp>
      <p:sp>
        <p:nvSpPr>
          <p:cNvPr id="8" name="TextBox 7">
            <a:extLst>
              <a:ext uri="{FF2B5EF4-FFF2-40B4-BE49-F238E27FC236}">
                <a16:creationId xmlns:a16="http://schemas.microsoft.com/office/drawing/2014/main" id="{E2497929-BF94-46F5-81FB-BC65032BB723}"/>
              </a:ext>
            </a:extLst>
          </p:cNvPr>
          <p:cNvSpPr txBox="1"/>
          <p:nvPr/>
        </p:nvSpPr>
        <p:spPr>
          <a:xfrm>
            <a:off x="1502141" y="4541376"/>
            <a:ext cx="6139718" cy="369332"/>
          </a:xfrm>
          <a:prstGeom prst="rect">
            <a:avLst/>
          </a:prstGeom>
          <a:noFill/>
        </p:spPr>
        <p:txBody>
          <a:bodyPr wrap="square" lIns="0" tIns="0" rIns="0" bIns="0" rtlCol="0">
            <a:spAutoFit/>
          </a:bodyPr>
          <a:lstStyle/>
          <a:p>
            <a:r>
              <a:rPr lang="en-US" sz="1200" dirty="0"/>
              <a:t>De Vivo, M. </a:t>
            </a:r>
            <a:r>
              <a:rPr lang="en-US" sz="1200" i="1" dirty="0"/>
              <a:t>et al.</a:t>
            </a:r>
            <a:r>
              <a:rPr lang="en-US" sz="1200" dirty="0"/>
              <a:t> Role of Molecular Dynamics and Related Methods in Drug Discovery. </a:t>
            </a:r>
            <a:r>
              <a:rPr lang="en-US" sz="1200" i="1" dirty="0"/>
              <a:t>Journal of Medicinal Chemistry</a:t>
            </a:r>
            <a:r>
              <a:rPr lang="en-US" sz="1200" dirty="0"/>
              <a:t> 2016 59 (9), 4035-4061 </a:t>
            </a:r>
            <a:r>
              <a:rPr lang="en-US" sz="1200" dirty="0" err="1"/>
              <a:t>doi</a:t>
            </a:r>
            <a:r>
              <a:rPr lang="en-US" sz="1200" dirty="0"/>
              <a:t>: 10.1021/acs.jmedchem.5b01684</a:t>
            </a:r>
          </a:p>
        </p:txBody>
      </p:sp>
    </p:spTree>
    <p:extLst>
      <p:ext uri="{BB962C8B-B14F-4D97-AF65-F5344CB8AC3E}">
        <p14:creationId xmlns:p14="http://schemas.microsoft.com/office/powerpoint/2010/main" val="2786797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5EDCE02-D42F-4816-B84F-1D3C60508B6F}"/>
              </a:ext>
            </a:extLst>
          </p:cNvPr>
          <p:cNvSpPr>
            <a:spLocks noGrp="1"/>
          </p:cNvSpPr>
          <p:nvPr>
            <p:ph idx="1"/>
          </p:nvPr>
        </p:nvSpPr>
        <p:spPr>
          <a:xfrm>
            <a:off x="367575" y="801112"/>
            <a:ext cx="8663137" cy="1877288"/>
          </a:xfrm>
        </p:spPr>
        <p:txBody>
          <a:bodyPr numCol="3"/>
          <a:lstStyle/>
          <a:p>
            <a:pPr marL="0" indent="0">
              <a:buNone/>
            </a:pPr>
            <a:r>
              <a:rPr lang="en-US" sz="1800" dirty="0"/>
              <a:t>Treatment of the nuclei</a:t>
            </a:r>
          </a:p>
          <a:p>
            <a:pPr lvl="1"/>
            <a:r>
              <a:rPr lang="en-US" sz="1400" dirty="0"/>
              <a:t>Quantum mechanical</a:t>
            </a:r>
          </a:p>
          <a:p>
            <a:pPr lvl="1"/>
            <a:r>
              <a:rPr lang="en-US" sz="1400" b="1" dirty="0"/>
              <a:t>Classical </a:t>
            </a:r>
          </a:p>
          <a:p>
            <a:pPr marL="0" indent="0">
              <a:buNone/>
            </a:pPr>
            <a:endParaRPr lang="en-US" sz="1600" dirty="0"/>
          </a:p>
          <a:p>
            <a:pPr marL="0" indent="0">
              <a:buNone/>
            </a:pPr>
            <a:endParaRPr lang="en-US" sz="1600" dirty="0"/>
          </a:p>
          <a:p>
            <a:pPr marL="0" indent="0">
              <a:buNone/>
            </a:pPr>
            <a:endParaRPr lang="en-US" sz="1600" dirty="0"/>
          </a:p>
          <a:p>
            <a:pPr marL="0" indent="0">
              <a:buNone/>
            </a:pPr>
            <a:r>
              <a:rPr lang="en-US" sz="1800" dirty="0"/>
              <a:t>Coupling between nuclear and electronic degrees of freedom</a:t>
            </a:r>
          </a:p>
          <a:p>
            <a:pPr lvl="1"/>
            <a:r>
              <a:rPr lang="en-US" sz="1400" dirty="0"/>
              <a:t>Full quantum solution</a:t>
            </a:r>
          </a:p>
          <a:p>
            <a:pPr lvl="1"/>
            <a:r>
              <a:rPr lang="en-US" sz="1400" dirty="0"/>
              <a:t>Quantum-classical</a:t>
            </a:r>
          </a:p>
          <a:p>
            <a:pPr lvl="1"/>
            <a:r>
              <a:rPr lang="en-US" sz="1400" b="1" dirty="0"/>
              <a:t>Born-Oppenheimer</a:t>
            </a:r>
          </a:p>
          <a:p>
            <a:pPr lvl="1"/>
            <a:endParaRPr lang="en-US" sz="1400" b="1" dirty="0"/>
          </a:p>
          <a:p>
            <a:pPr marL="266700" lvl="1" indent="0">
              <a:buNone/>
            </a:pPr>
            <a:r>
              <a:rPr lang="en-US" sz="1800" dirty="0"/>
              <a:t>Potential energy surface</a:t>
            </a:r>
          </a:p>
          <a:p>
            <a:pPr lvl="1"/>
            <a:r>
              <a:rPr lang="en-US" sz="1400" dirty="0"/>
              <a:t>Empirical</a:t>
            </a:r>
          </a:p>
          <a:p>
            <a:pPr lvl="1"/>
            <a:r>
              <a:rPr lang="en-US" sz="1400" dirty="0"/>
              <a:t>Machine Learning</a:t>
            </a:r>
          </a:p>
          <a:p>
            <a:pPr lvl="1"/>
            <a:r>
              <a:rPr lang="en-US" sz="1400" b="1" dirty="0"/>
              <a:t>Ab initio</a:t>
            </a:r>
          </a:p>
        </p:txBody>
      </p:sp>
      <p:sp>
        <p:nvSpPr>
          <p:cNvPr id="5" name="Title 4">
            <a:extLst>
              <a:ext uri="{FF2B5EF4-FFF2-40B4-BE49-F238E27FC236}">
                <a16:creationId xmlns:a16="http://schemas.microsoft.com/office/drawing/2014/main" id="{8CD5524B-202E-439D-ACEC-55946B0598B4}"/>
              </a:ext>
            </a:extLst>
          </p:cNvPr>
          <p:cNvSpPr>
            <a:spLocks noGrp="1"/>
          </p:cNvSpPr>
          <p:nvPr>
            <p:ph type="title"/>
          </p:nvPr>
        </p:nvSpPr>
        <p:spPr/>
        <p:txBody>
          <a:bodyPr/>
          <a:lstStyle/>
          <a:p>
            <a:r>
              <a:rPr lang="en-US" dirty="0"/>
              <a:t>Recap: How is this connected to what we have seen so far?</a:t>
            </a:r>
          </a:p>
        </p:txBody>
      </p:sp>
      <p:sp>
        <p:nvSpPr>
          <p:cNvPr id="4" name="Content Placeholder 5">
            <a:extLst>
              <a:ext uri="{FF2B5EF4-FFF2-40B4-BE49-F238E27FC236}">
                <a16:creationId xmlns:a16="http://schemas.microsoft.com/office/drawing/2014/main" id="{21721927-0768-42A2-8847-F4796F489F83}"/>
              </a:ext>
            </a:extLst>
          </p:cNvPr>
          <p:cNvSpPr txBox="1">
            <a:spLocks/>
          </p:cNvSpPr>
          <p:nvPr/>
        </p:nvSpPr>
        <p:spPr>
          <a:xfrm>
            <a:off x="5320384" y="2918935"/>
            <a:ext cx="4084607" cy="805225"/>
          </a:xfrm>
          <a:prstGeom prst="rect">
            <a:avLst/>
          </a:prstGeom>
        </p:spPr>
        <p:txBody>
          <a:bodyPr vert="horz" lIns="0" tIns="0" rIns="0" bIns="0" rtlCol="0">
            <a:noAutofit/>
          </a:bodyPr>
          <a:lstStyle>
            <a:lvl1pPr marL="266700" indent="-266700" algn="l" defTabSz="914400" rtl="0" eaLnBrk="1" latinLnBrk="0" hangingPunct="1">
              <a:spcBef>
                <a:spcPts val="400"/>
              </a:spcBef>
              <a:buFont typeface="Arial" panose="020B0604020202020204" pitchFamily="34" charset="0"/>
              <a:buChar char="•"/>
              <a:defRPr sz="2000" kern="1200">
                <a:solidFill>
                  <a:schemeClr val="tx1"/>
                </a:solidFill>
                <a:latin typeface="BISansOpti"/>
                <a:ea typeface="+mn-ea"/>
                <a:cs typeface="BISansOpti"/>
              </a:defRPr>
            </a:lvl1pPr>
            <a:lvl2pPr marL="450850" indent="-18415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2pPr>
            <a:lvl3pPr marL="628650" indent="-17780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3pPr>
            <a:lvl4pPr marL="806450" indent="-17780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4pPr>
            <a:lvl5pPr marL="984250" indent="-177800" algn="l" defTabSz="914400" rtl="0" eaLnBrk="1" latinLnBrk="0" hangingPunct="1">
              <a:spcBef>
                <a:spcPts val="0"/>
              </a:spcBef>
              <a:buFont typeface="Wingdings" panose="05000000000000000000" pitchFamily="2" charset="2"/>
              <a:buChar char="§"/>
              <a:defRPr sz="1600" kern="1200">
                <a:solidFill>
                  <a:schemeClr val="tx1"/>
                </a:solidFill>
                <a:latin typeface="BISansOpti"/>
                <a:ea typeface="+mn-ea"/>
                <a:cs typeface="BISansOpti"/>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a:t>Limitations</a:t>
            </a:r>
          </a:p>
          <a:p>
            <a:pPr lvl="1"/>
            <a:r>
              <a:rPr lang="en-US" sz="1400" b="1" dirty="0"/>
              <a:t>Only slow, near-equilibrium dynamics</a:t>
            </a:r>
          </a:p>
          <a:p>
            <a:pPr lvl="1"/>
            <a:r>
              <a:rPr lang="en-US" sz="1400" b="1" dirty="0"/>
              <a:t>No excited states</a:t>
            </a:r>
          </a:p>
          <a:p>
            <a:pPr lvl="1"/>
            <a:r>
              <a:rPr lang="en-US" sz="1400" b="1" dirty="0"/>
              <a:t>Very expensive, so very small systems</a:t>
            </a:r>
          </a:p>
          <a:p>
            <a:pPr marL="0" indent="0">
              <a:buNone/>
            </a:pPr>
            <a:endParaRPr lang="en-US" sz="1400" dirty="0"/>
          </a:p>
        </p:txBody>
      </p:sp>
      <p:pic>
        <p:nvPicPr>
          <p:cNvPr id="12" name="Picture 11" descr="Schematic showcasing the different levels of accuracy of molecular dynamics with the corresponding sizes of systems that can be treated. The range goes from very accurate (ab initio methods) over machine learning approaches to very efficient (force fields).">
            <a:extLst>
              <a:ext uri="{FF2B5EF4-FFF2-40B4-BE49-F238E27FC236}">
                <a16:creationId xmlns:a16="http://schemas.microsoft.com/office/drawing/2014/main" id="{575BB4B0-3A37-4413-AD02-7CFC5D4EF926}"/>
              </a:ext>
            </a:extLst>
          </p:cNvPr>
          <p:cNvPicPr>
            <a:picLocks noChangeAspect="1"/>
          </p:cNvPicPr>
          <p:nvPr/>
        </p:nvPicPr>
        <p:blipFill>
          <a:blip r:embed="rId3"/>
          <a:stretch>
            <a:fillRect/>
          </a:stretch>
        </p:blipFill>
        <p:spPr>
          <a:xfrm>
            <a:off x="1944187" y="2448000"/>
            <a:ext cx="3247200" cy="2225317"/>
          </a:xfrm>
          <a:prstGeom prst="rect">
            <a:avLst/>
          </a:prstGeom>
        </p:spPr>
      </p:pic>
      <p:sp>
        <p:nvSpPr>
          <p:cNvPr id="13" name="TextBox 12">
            <a:extLst>
              <a:ext uri="{FF2B5EF4-FFF2-40B4-BE49-F238E27FC236}">
                <a16:creationId xmlns:a16="http://schemas.microsoft.com/office/drawing/2014/main" id="{DF54B110-F389-4A5B-AD26-2739E3B16507}"/>
              </a:ext>
            </a:extLst>
          </p:cNvPr>
          <p:cNvSpPr txBox="1"/>
          <p:nvPr/>
        </p:nvSpPr>
        <p:spPr>
          <a:xfrm>
            <a:off x="129787" y="2430273"/>
            <a:ext cx="1685403" cy="923330"/>
          </a:xfrm>
          <a:prstGeom prst="rect">
            <a:avLst/>
          </a:prstGeom>
          <a:noFill/>
        </p:spPr>
        <p:txBody>
          <a:bodyPr wrap="square" lIns="0" tIns="0" rIns="0" bIns="0" rtlCol="0">
            <a:spAutoFit/>
          </a:bodyPr>
          <a:lstStyle/>
          <a:p>
            <a:r>
              <a:rPr lang="en-US" sz="1200" dirty="0" err="1"/>
              <a:t>Unke</a:t>
            </a:r>
            <a:r>
              <a:rPr lang="en-US" sz="1200" dirty="0"/>
              <a:t>, O.T. </a:t>
            </a:r>
            <a:r>
              <a:rPr lang="en-US" sz="1200" i="1" dirty="0"/>
              <a:t>et al. </a:t>
            </a:r>
            <a:r>
              <a:rPr lang="en-US" sz="1200" dirty="0"/>
              <a:t>Machine Learning Force Fields. </a:t>
            </a:r>
            <a:r>
              <a:rPr lang="en-US" sz="1200" i="1" dirty="0"/>
              <a:t>Chem. Rev. </a:t>
            </a:r>
            <a:r>
              <a:rPr lang="en-US" sz="1200" dirty="0"/>
              <a:t>2021 121 16 doi:10.1021/acs.chemrev.0c01111</a:t>
            </a:r>
          </a:p>
        </p:txBody>
      </p:sp>
    </p:spTree>
    <p:extLst>
      <p:ext uri="{BB962C8B-B14F-4D97-AF65-F5344CB8AC3E}">
        <p14:creationId xmlns:p14="http://schemas.microsoft.com/office/powerpoint/2010/main" val="39331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CD5524B-202E-439D-ACEC-55946B0598B4}"/>
              </a:ext>
            </a:extLst>
          </p:cNvPr>
          <p:cNvSpPr>
            <a:spLocks noGrp="1"/>
          </p:cNvSpPr>
          <p:nvPr>
            <p:ph type="title"/>
          </p:nvPr>
        </p:nvSpPr>
        <p:spPr/>
        <p:txBody>
          <a:bodyPr/>
          <a:lstStyle/>
          <a:p>
            <a:r>
              <a:rPr lang="en-US" dirty="0"/>
              <a:t>Recap: How is this connected to what we have seen so far?</a:t>
            </a:r>
          </a:p>
        </p:txBody>
      </p:sp>
      <p:sp>
        <p:nvSpPr>
          <p:cNvPr id="4" name="Content Placeholder 5">
            <a:extLst>
              <a:ext uri="{FF2B5EF4-FFF2-40B4-BE49-F238E27FC236}">
                <a16:creationId xmlns:a16="http://schemas.microsoft.com/office/drawing/2014/main" id="{21721927-0768-42A2-8847-F4796F489F83}"/>
              </a:ext>
            </a:extLst>
          </p:cNvPr>
          <p:cNvSpPr txBox="1">
            <a:spLocks/>
          </p:cNvSpPr>
          <p:nvPr/>
        </p:nvSpPr>
        <p:spPr>
          <a:xfrm>
            <a:off x="540000" y="880452"/>
            <a:ext cx="4084607" cy="805225"/>
          </a:xfrm>
          <a:prstGeom prst="rect">
            <a:avLst/>
          </a:prstGeom>
        </p:spPr>
        <p:txBody>
          <a:bodyPr vert="horz" lIns="0" tIns="0" rIns="0" bIns="0" rtlCol="0">
            <a:noAutofit/>
          </a:bodyPr>
          <a:lstStyle>
            <a:lvl1pPr marL="266700" indent="-266700" algn="l" defTabSz="914400" rtl="0" eaLnBrk="1" latinLnBrk="0" hangingPunct="1">
              <a:spcBef>
                <a:spcPts val="400"/>
              </a:spcBef>
              <a:buFont typeface="Arial" panose="020B0604020202020204" pitchFamily="34" charset="0"/>
              <a:buChar char="•"/>
              <a:defRPr sz="2000" kern="1200">
                <a:solidFill>
                  <a:schemeClr val="tx1"/>
                </a:solidFill>
                <a:latin typeface="BISansOpti"/>
                <a:ea typeface="+mn-ea"/>
                <a:cs typeface="BISansOpti"/>
              </a:defRPr>
            </a:lvl1pPr>
            <a:lvl2pPr marL="450850" indent="-18415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2pPr>
            <a:lvl3pPr marL="628650" indent="-17780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3pPr>
            <a:lvl4pPr marL="806450" indent="-17780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4pPr>
            <a:lvl5pPr marL="984250" indent="-177800" algn="l" defTabSz="914400" rtl="0" eaLnBrk="1" latinLnBrk="0" hangingPunct="1">
              <a:spcBef>
                <a:spcPts val="0"/>
              </a:spcBef>
              <a:buFont typeface="Wingdings" panose="05000000000000000000" pitchFamily="2" charset="2"/>
              <a:buChar char="§"/>
              <a:defRPr sz="1600" kern="1200">
                <a:solidFill>
                  <a:schemeClr val="tx1"/>
                </a:solidFill>
                <a:latin typeface="BISansOpti"/>
                <a:ea typeface="+mn-ea"/>
                <a:cs typeface="BISansOpti"/>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800" dirty="0"/>
              <a:t>Synergies</a:t>
            </a:r>
          </a:p>
          <a:p>
            <a:r>
              <a:rPr lang="en-US" sz="1400" dirty="0"/>
              <a:t>Learning on accurate PES</a:t>
            </a:r>
          </a:p>
          <a:p>
            <a:r>
              <a:rPr lang="en-US" sz="1400" b="1" dirty="0"/>
              <a:t>Learning on accurate forces</a:t>
            </a:r>
          </a:p>
        </p:txBody>
      </p:sp>
      <p:pic>
        <p:nvPicPr>
          <p:cNvPr id="1028" name="Picture 4" descr="A schematic showcasing the new approach of machine learning force fields not from energies but from forces. The graphics demonstrate that the derivatives capture more information about the topology of the potential energy surface while the energy learning misses a lot of accuracy between samples.">
            <a:extLst>
              <a:ext uri="{FF2B5EF4-FFF2-40B4-BE49-F238E27FC236}">
                <a16:creationId xmlns:a16="http://schemas.microsoft.com/office/drawing/2014/main" id="{AF0F225E-C0CE-4BEF-A38A-6C93158097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84100" y="1813486"/>
            <a:ext cx="3802200" cy="232217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4BAEA8E-EFB0-4046-BBF8-E29BA7366203}"/>
              </a:ext>
            </a:extLst>
          </p:cNvPr>
          <p:cNvSpPr txBox="1"/>
          <p:nvPr/>
        </p:nvSpPr>
        <p:spPr>
          <a:xfrm>
            <a:off x="4356000" y="4179293"/>
            <a:ext cx="4658400" cy="369332"/>
          </a:xfrm>
          <a:prstGeom prst="rect">
            <a:avLst/>
          </a:prstGeom>
          <a:noFill/>
        </p:spPr>
        <p:txBody>
          <a:bodyPr wrap="square" lIns="0" tIns="0" rIns="0" bIns="0" rtlCol="0">
            <a:spAutoFit/>
          </a:bodyPr>
          <a:lstStyle/>
          <a:p>
            <a:r>
              <a:rPr lang="en-US" sz="1200" dirty="0" err="1"/>
              <a:t>Chmiela</a:t>
            </a:r>
            <a:r>
              <a:rPr lang="en-US" sz="1200" dirty="0"/>
              <a:t>, S. </a:t>
            </a:r>
            <a:r>
              <a:rPr lang="en-US" sz="1200" i="1" dirty="0"/>
              <a:t>et al.</a:t>
            </a:r>
            <a:r>
              <a:rPr lang="en-US" sz="1200" dirty="0"/>
              <a:t> Machine learning of accurate energy-conserving molecular force fields. </a:t>
            </a:r>
            <a:r>
              <a:rPr lang="en-US" sz="1200" i="1" dirty="0"/>
              <a:t>Sci. Adv. </a:t>
            </a:r>
            <a:r>
              <a:rPr lang="en-US" sz="1200" dirty="0"/>
              <a:t>2017 3 (5) doi:10.1126/sciadv.1603015</a:t>
            </a:r>
            <a:endParaRPr lang="en-US" sz="1200" i="1" dirty="0"/>
          </a:p>
        </p:txBody>
      </p:sp>
      <p:pic>
        <p:nvPicPr>
          <p:cNvPr id="10" name="Picture 9" descr="A diagram showing what one can extract from accurate potential energy surfaces.&#10;The first example is chemical reactions where electronic effects or thermodynamics play a role. The other examples are nuclear quantum effects, excited state dynamics and spectroscopy.">
            <a:extLst>
              <a:ext uri="{FF2B5EF4-FFF2-40B4-BE49-F238E27FC236}">
                <a16:creationId xmlns:a16="http://schemas.microsoft.com/office/drawing/2014/main" id="{BF47E713-8538-46DA-9414-49B96A604181}"/>
              </a:ext>
            </a:extLst>
          </p:cNvPr>
          <p:cNvPicPr>
            <a:picLocks noChangeAspect="1"/>
          </p:cNvPicPr>
          <p:nvPr/>
        </p:nvPicPr>
        <p:blipFill>
          <a:blip r:embed="rId3"/>
          <a:stretch>
            <a:fillRect/>
          </a:stretch>
        </p:blipFill>
        <p:spPr>
          <a:xfrm>
            <a:off x="367575" y="1813486"/>
            <a:ext cx="3690169" cy="2327022"/>
          </a:xfrm>
          <a:prstGeom prst="rect">
            <a:avLst/>
          </a:prstGeom>
        </p:spPr>
      </p:pic>
      <p:sp>
        <p:nvSpPr>
          <p:cNvPr id="12" name="TextBox 11">
            <a:extLst>
              <a:ext uri="{FF2B5EF4-FFF2-40B4-BE49-F238E27FC236}">
                <a16:creationId xmlns:a16="http://schemas.microsoft.com/office/drawing/2014/main" id="{AF8649D6-92BE-4742-9E43-A356F8B49BD3}"/>
              </a:ext>
            </a:extLst>
          </p:cNvPr>
          <p:cNvSpPr txBox="1"/>
          <p:nvPr/>
        </p:nvSpPr>
        <p:spPr>
          <a:xfrm>
            <a:off x="367575" y="4179293"/>
            <a:ext cx="3628800" cy="369332"/>
          </a:xfrm>
          <a:prstGeom prst="rect">
            <a:avLst/>
          </a:prstGeom>
          <a:noFill/>
        </p:spPr>
        <p:txBody>
          <a:bodyPr wrap="square" lIns="0" tIns="0" rIns="0" bIns="0" rtlCol="0">
            <a:spAutoFit/>
          </a:bodyPr>
          <a:lstStyle/>
          <a:p>
            <a:r>
              <a:rPr lang="en-US" sz="1200" dirty="0" err="1"/>
              <a:t>Unke</a:t>
            </a:r>
            <a:r>
              <a:rPr lang="en-US" sz="1200" dirty="0"/>
              <a:t>, O.T. </a:t>
            </a:r>
            <a:r>
              <a:rPr lang="en-US" sz="1200" i="1" dirty="0"/>
              <a:t>et al. </a:t>
            </a:r>
            <a:r>
              <a:rPr lang="en-US" sz="1200" dirty="0"/>
              <a:t>Machine Learning Force Fields. </a:t>
            </a:r>
            <a:r>
              <a:rPr lang="en-US" sz="1200" i="1" dirty="0"/>
              <a:t>Chem. Rev.</a:t>
            </a:r>
            <a:r>
              <a:rPr lang="en-US" sz="1200" dirty="0"/>
              <a:t> 2021 121 16 doi:10.1021/acs.chemrev.0c01111</a:t>
            </a:r>
          </a:p>
        </p:txBody>
      </p:sp>
    </p:spTree>
    <p:extLst>
      <p:ext uri="{BB962C8B-B14F-4D97-AF65-F5344CB8AC3E}">
        <p14:creationId xmlns:p14="http://schemas.microsoft.com/office/powerpoint/2010/main" val="290372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CD5524B-202E-439D-ACEC-55946B0598B4}"/>
              </a:ext>
            </a:extLst>
          </p:cNvPr>
          <p:cNvSpPr>
            <a:spLocks noGrp="1"/>
          </p:cNvSpPr>
          <p:nvPr>
            <p:ph type="title"/>
          </p:nvPr>
        </p:nvSpPr>
        <p:spPr/>
        <p:txBody>
          <a:bodyPr/>
          <a:lstStyle/>
          <a:p>
            <a:r>
              <a:rPr lang="en-US" dirty="0"/>
              <a:t>Born-Oppenheimer approxima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9D65627-B51E-4E9B-A3DD-C153CECBBC02}"/>
                  </a:ext>
                </a:extLst>
              </p:cNvPr>
              <p:cNvSpPr>
                <a:spLocks noGrp="1"/>
              </p:cNvSpPr>
              <p:nvPr>
                <p:ph idx="1"/>
              </p:nvPr>
            </p:nvSpPr>
            <p:spPr/>
            <p:txBody>
              <a:bodyPr/>
              <a:lstStyle/>
              <a:p>
                <a:pPr marL="0" indent="0">
                  <a:buNone/>
                </a:pPr>
                <a:r>
                  <a:rPr lang="en-US" sz="1800" b="0" dirty="0">
                    <a:latin typeface="+mn-lt"/>
                  </a:rPr>
                  <a:t>The molecular Hamiltonian is </a:t>
                </a:r>
              </a:p>
              <a:p>
                <a:pPr marL="0" indent="0">
                  <a:buNone/>
                </a:pPr>
                <a14:m>
                  <m:oMathPara xmlns:m="http://schemas.openxmlformats.org/officeDocument/2006/math">
                    <m:oMathParaPr>
                      <m:jc m:val="centerGroup"/>
                    </m:oMathParaPr>
                    <m:oMath xmlns:m="http://schemas.openxmlformats.org/officeDocument/2006/math">
                      <m:r>
                        <a:rPr lang="en-US" sz="1600" b="0" i="1" smtClean="0">
                          <a:latin typeface="Cambria Math" panose="02040503050406030204" pitchFamily="18" charset="0"/>
                        </a:rPr>
                        <m:t>𝐻</m:t>
                      </m:r>
                      <m:r>
                        <a:rPr lang="en-US" sz="1600" b="0" i="1" smtClean="0">
                          <a:latin typeface="Cambria Math" panose="02040503050406030204" pitchFamily="18" charset="0"/>
                        </a:rPr>
                        <m:t>(</m:t>
                      </m:r>
                      <m:r>
                        <a:rPr lang="en-US" sz="1600" b="1" i="1" smtClean="0">
                          <a:latin typeface="Cambria Math" panose="02040503050406030204" pitchFamily="18" charset="0"/>
                        </a:rPr>
                        <m:t>𝒓</m:t>
                      </m:r>
                      <m:r>
                        <a:rPr lang="en-US" sz="1600" b="0" i="1" smtClean="0">
                          <a:latin typeface="Cambria Math" panose="02040503050406030204" pitchFamily="18" charset="0"/>
                        </a:rPr>
                        <m:t>, </m:t>
                      </m:r>
                      <m:r>
                        <a:rPr lang="en-US" sz="1600" b="1" i="1" smtClean="0">
                          <a:latin typeface="Cambria Math" panose="02040503050406030204" pitchFamily="18" charset="0"/>
                        </a:rPr>
                        <m:t>𝑹</m:t>
                      </m:r>
                      <m:r>
                        <a:rPr lang="en-US" sz="1600" b="0" i="1" smtClean="0">
                          <a:latin typeface="Cambria Math" panose="02040503050406030204" pitchFamily="18" charset="0"/>
                        </a:rPr>
                        <m:t>)=−</m:t>
                      </m:r>
                      <m:f>
                        <m:fPr>
                          <m:ctrlPr>
                            <a:rPr lang="en-US" sz="1600" b="0" i="1" smtClean="0">
                              <a:latin typeface="Cambria Math" panose="02040503050406030204" pitchFamily="18" charset="0"/>
                            </a:rPr>
                          </m:ctrlPr>
                        </m:fPr>
                        <m:num>
                          <m:r>
                            <a:rPr lang="en-US" sz="1600" b="0" i="1" smtClean="0">
                              <a:latin typeface="Cambria Math" panose="02040503050406030204" pitchFamily="18" charset="0"/>
                            </a:rPr>
                            <m:t>1</m:t>
                          </m:r>
                        </m:num>
                        <m:den>
                          <m:r>
                            <a:rPr lang="en-US" sz="1600" b="0" i="1" smtClean="0">
                              <a:latin typeface="Cambria Math" panose="02040503050406030204" pitchFamily="18" charset="0"/>
                            </a:rPr>
                            <m:t>2</m:t>
                          </m:r>
                        </m:den>
                      </m:f>
                      <m:nary>
                        <m:naryPr>
                          <m:chr m:val="∑"/>
                          <m:supHide m:val="on"/>
                          <m:ctrlPr>
                            <a:rPr lang="en-US" sz="1600" b="0" i="1" smtClean="0">
                              <a:latin typeface="Cambria Math" panose="02040503050406030204" pitchFamily="18" charset="0"/>
                            </a:rPr>
                          </m:ctrlPr>
                        </m:naryPr>
                        <m:sub>
                          <m:r>
                            <a:rPr lang="en-US" sz="1600" b="0" i="1" smtClean="0">
                              <a:latin typeface="Cambria Math" panose="02040503050406030204" pitchFamily="18" charset="0"/>
                            </a:rPr>
                            <m:t>𝐼</m:t>
                          </m:r>
                          <m:r>
                            <a:rPr lang="en-US" sz="1600" b="0" i="1" smtClean="0">
                              <a:latin typeface="Cambria Math" panose="02040503050406030204" pitchFamily="18" charset="0"/>
                            </a:rPr>
                            <m:t>∈</m:t>
                          </m:r>
                          <m:r>
                            <a:rPr lang="en-US" sz="1600" b="0" i="1" smtClean="0">
                              <a:latin typeface="Cambria Math" panose="02040503050406030204" pitchFamily="18" charset="0"/>
                            </a:rPr>
                            <m:t>𝑛𝑢𝑐</m:t>
                          </m:r>
                        </m:sub>
                        <m:sup/>
                        <m:e>
                          <m:f>
                            <m:fPr>
                              <m:ctrlPr>
                                <a:rPr lang="en-US" sz="1600" b="0" i="1" smtClean="0">
                                  <a:latin typeface="Cambria Math" panose="02040503050406030204" pitchFamily="18" charset="0"/>
                                </a:rPr>
                              </m:ctrlPr>
                            </m:fPr>
                            <m:num>
                              <m:sSubSup>
                                <m:sSubSupPr>
                                  <m:ctrlPr>
                                    <a:rPr lang="en-US" sz="1600" b="0" i="1" smtClean="0">
                                      <a:latin typeface="Cambria Math" panose="02040503050406030204" pitchFamily="18" charset="0"/>
                                    </a:rPr>
                                  </m:ctrlPr>
                                </m:sSubSupPr>
                                <m:e>
                                  <m:r>
                                    <m:rPr>
                                      <m:sty m:val="p"/>
                                    </m:rPr>
                                    <a:rPr lang="en-US" sz="1600" b="0" i="0" smtClean="0">
                                      <a:latin typeface="Cambria Math" panose="02040503050406030204" pitchFamily="18" charset="0"/>
                                    </a:rPr>
                                    <m:t>∇</m:t>
                                  </m:r>
                                </m:e>
                                <m:sub>
                                  <m:r>
                                    <a:rPr lang="en-US" sz="1600" b="0" i="1" smtClean="0">
                                      <a:latin typeface="Cambria Math" panose="02040503050406030204" pitchFamily="18" charset="0"/>
                                    </a:rPr>
                                    <m:t>𝐼</m:t>
                                  </m:r>
                                </m:sub>
                                <m:sup>
                                  <m:r>
                                    <a:rPr lang="en-US" sz="1600" b="0" i="1" smtClean="0">
                                      <a:latin typeface="Cambria Math" panose="02040503050406030204" pitchFamily="18" charset="0"/>
                                    </a:rPr>
                                    <m:t>2</m:t>
                                  </m:r>
                                </m:sup>
                              </m:sSubSup>
                            </m:num>
                            <m:den>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𝑀</m:t>
                                  </m:r>
                                </m:e>
                                <m:sub>
                                  <m:r>
                                    <a:rPr lang="en-US" sz="1600" b="0" i="1" smtClean="0">
                                      <a:latin typeface="Cambria Math" panose="02040503050406030204" pitchFamily="18" charset="0"/>
                                    </a:rPr>
                                    <m:t>𝐼</m:t>
                                  </m:r>
                                </m:sub>
                              </m:sSub>
                            </m:den>
                          </m:f>
                        </m:e>
                      </m:nary>
                      <m:r>
                        <a:rPr lang="en-US" sz="1600" b="0" i="1" smtClean="0">
                          <a:latin typeface="Cambria Math" panose="02040503050406030204" pitchFamily="18" charset="0"/>
                        </a:rPr>
                        <m:t>+</m:t>
                      </m:r>
                      <m:f>
                        <m:fPr>
                          <m:ctrlPr>
                            <a:rPr lang="en-US" sz="1600" b="0" i="1" smtClean="0">
                              <a:latin typeface="Cambria Math" panose="02040503050406030204" pitchFamily="18" charset="0"/>
                            </a:rPr>
                          </m:ctrlPr>
                        </m:fPr>
                        <m:num>
                          <m:r>
                            <a:rPr lang="en-US" sz="1600" b="0" i="1" smtClean="0">
                              <a:latin typeface="Cambria Math" panose="02040503050406030204" pitchFamily="18" charset="0"/>
                            </a:rPr>
                            <m:t>1</m:t>
                          </m:r>
                        </m:num>
                        <m:den>
                          <m:r>
                            <a:rPr lang="en-US" sz="1600" b="0" i="1" smtClean="0">
                              <a:latin typeface="Cambria Math" panose="02040503050406030204" pitchFamily="18" charset="0"/>
                            </a:rPr>
                            <m:t>2</m:t>
                          </m:r>
                        </m:den>
                      </m:f>
                      <m:nary>
                        <m:naryPr>
                          <m:chr m:val="∑"/>
                          <m:supHide m:val="on"/>
                          <m:ctrlPr>
                            <a:rPr lang="en-US" sz="1600" b="0" i="1" smtClean="0">
                              <a:latin typeface="Cambria Math" panose="02040503050406030204" pitchFamily="18" charset="0"/>
                            </a:rPr>
                          </m:ctrlPr>
                        </m:naryPr>
                        <m:sub>
                          <m:r>
                            <a:rPr lang="en-US" sz="1600" b="0" i="1" smtClean="0">
                              <a:latin typeface="Cambria Math" panose="02040503050406030204" pitchFamily="18" charset="0"/>
                            </a:rPr>
                            <m:t>𝐼</m:t>
                          </m:r>
                          <m:r>
                            <a:rPr lang="en-US" sz="1600" b="0" i="1" smtClean="0">
                              <a:latin typeface="Cambria Math" panose="02040503050406030204" pitchFamily="18" charset="0"/>
                            </a:rPr>
                            <m:t>≠</m:t>
                          </m:r>
                          <m:r>
                            <a:rPr lang="en-US" sz="1600" b="0" i="1" smtClean="0">
                              <a:latin typeface="Cambria Math" panose="02040503050406030204" pitchFamily="18" charset="0"/>
                            </a:rPr>
                            <m:t>𝐽</m:t>
                          </m:r>
                          <m:r>
                            <a:rPr lang="en-US" sz="1600" b="0" i="1" smtClean="0">
                              <a:latin typeface="Cambria Math" panose="02040503050406030204" pitchFamily="18" charset="0"/>
                            </a:rPr>
                            <m:t>∈</m:t>
                          </m:r>
                          <m:r>
                            <a:rPr lang="en-US" sz="1600" b="0" i="1" smtClean="0">
                              <a:latin typeface="Cambria Math" panose="02040503050406030204" pitchFamily="18" charset="0"/>
                            </a:rPr>
                            <m:t>𝑛𝑢𝑐</m:t>
                          </m:r>
                        </m:sub>
                        <m:sup/>
                        <m:e>
                          <m:f>
                            <m:fPr>
                              <m:ctrlPr>
                                <a:rPr lang="en-US" sz="1600" b="0" i="1" smtClean="0">
                                  <a:latin typeface="Cambria Math" panose="02040503050406030204" pitchFamily="18" charset="0"/>
                                </a:rPr>
                              </m:ctrlPr>
                            </m:fPr>
                            <m:num>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𝑍</m:t>
                                  </m:r>
                                </m:e>
                                <m:sub>
                                  <m:r>
                                    <a:rPr lang="en-US" sz="1600" b="0" i="1" smtClean="0">
                                      <a:latin typeface="Cambria Math" panose="02040503050406030204" pitchFamily="18" charset="0"/>
                                    </a:rPr>
                                    <m:t>𝐼</m:t>
                                  </m:r>
                                </m:sub>
                              </m:sSub>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𝑍</m:t>
                                  </m:r>
                                </m:e>
                                <m:sub>
                                  <m:r>
                                    <a:rPr lang="en-US" sz="1600" b="0" i="1" smtClean="0">
                                      <a:latin typeface="Cambria Math" panose="02040503050406030204" pitchFamily="18" charset="0"/>
                                    </a:rPr>
                                    <m:t>𝐽</m:t>
                                  </m:r>
                                </m:sub>
                              </m:sSub>
                            </m:num>
                            <m:den>
                              <m:d>
                                <m:dPr>
                                  <m:begChr m:val="|"/>
                                  <m:endChr m:val="|"/>
                                  <m:ctrlPr>
                                    <a:rPr lang="en-US" sz="1600" b="0" i="1" smtClean="0">
                                      <a:latin typeface="Cambria Math" panose="02040503050406030204" pitchFamily="18" charset="0"/>
                                    </a:rPr>
                                  </m:ctrlPr>
                                </m:dPr>
                                <m:e>
                                  <m:sSub>
                                    <m:sSubPr>
                                      <m:ctrlPr>
                                        <a:rPr lang="en-US" sz="1600" b="0" i="1" smtClean="0">
                                          <a:latin typeface="Cambria Math" panose="02040503050406030204" pitchFamily="18" charset="0"/>
                                        </a:rPr>
                                      </m:ctrlPr>
                                    </m:sSubPr>
                                    <m:e>
                                      <m:r>
                                        <a:rPr lang="en-US" sz="1600" b="1" i="1" smtClean="0">
                                          <a:latin typeface="Cambria Math" panose="02040503050406030204" pitchFamily="18" charset="0"/>
                                        </a:rPr>
                                        <m:t>𝑹</m:t>
                                      </m:r>
                                    </m:e>
                                    <m:sub>
                                      <m:r>
                                        <a:rPr lang="en-US" sz="1600" b="0" i="1" smtClean="0">
                                          <a:latin typeface="Cambria Math" panose="02040503050406030204" pitchFamily="18" charset="0"/>
                                        </a:rPr>
                                        <m:t>𝐼</m:t>
                                      </m:r>
                                    </m:sub>
                                  </m:sSub>
                                  <m:r>
                                    <a:rPr lang="en-US" sz="1600" b="0" i="1" smtClean="0">
                                      <a:latin typeface="Cambria Math" panose="02040503050406030204" pitchFamily="18" charset="0"/>
                                    </a:rPr>
                                    <m:t>−</m:t>
                                  </m:r>
                                  <m:sSub>
                                    <m:sSubPr>
                                      <m:ctrlPr>
                                        <a:rPr lang="en-US" sz="1600" b="0" i="1" smtClean="0">
                                          <a:latin typeface="Cambria Math" panose="02040503050406030204" pitchFamily="18" charset="0"/>
                                        </a:rPr>
                                      </m:ctrlPr>
                                    </m:sSubPr>
                                    <m:e>
                                      <m:r>
                                        <a:rPr lang="en-US" sz="1600" b="1" i="1" smtClean="0">
                                          <a:latin typeface="Cambria Math" panose="02040503050406030204" pitchFamily="18" charset="0"/>
                                        </a:rPr>
                                        <m:t>𝑹</m:t>
                                      </m:r>
                                    </m:e>
                                    <m:sub>
                                      <m:r>
                                        <a:rPr lang="en-US" sz="1600" b="0" i="1" smtClean="0">
                                          <a:latin typeface="Cambria Math" panose="02040503050406030204" pitchFamily="18" charset="0"/>
                                        </a:rPr>
                                        <m:t>𝐽</m:t>
                                      </m:r>
                                    </m:sub>
                                  </m:sSub>
                                </m:e>
                              </m:d>
                            </m:den>
                          </m:f>
                          <m:r>
                            <a:rPr lang="en-US" sz="1600" b="0" i="1" smtClean="0">
                              <a:latin typeface="Cambria Math" panose="02040503050406030204" pitchFamily="18" charset="0"/>
                            </a:rPr>
                            <m:t>−</m:t>
                          </m:r>
                          <m:f>
                            <m:fPr>
                              <m:ctrlPr>
                                <a:rPr lang="en-US" sz="1600" i="1">
                                  <a:latin typeface="Cambria Math" panose="02040503050406030204" pitchFamily="18" charset="0"/>
                                </a:rPr>
                              </m:ctrlPr>
                            </m:fPr>
                            <m:num>
                              <m:r>
                                <a:rPr lang="en-US" sz="1600" i="1">
                                  <a:latin typeface="Cambria Math" panose="02040503050406030204" pitchFamily="18" charset="0"/>
                                </a:rPr>
                                <m:t>1</m:t>
                              </m:r>
                            </m:num>
                            <m:den>
                              <m:r>
                                <a:rPr lang="en-US" sz="1600" i="1">
                                  <a:latin typeface="Cambria Math" panose="02040503050406030204" pitchFamily="18" charset="0"/>
                                </a:rPr>
                                <m:t>2</m:t>
                              </m:r>
                            </m:den>
                          </m:f>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𝑖</m:t>
                              </m:r>
                              <m:r>
                                <a:rPr lang="en-US" sz="1600" i="1">
                                  <a:latin typeface="Cambria Math" panose="02040503050406030204" pitchFamily="18" charset="0"/>
                                </a:rPr>
                                <m:t>∈</m:t>
                              </m:r>
                              <m:r>
                                <a:rPr lang="en-US" sz="1600" i="1">
                                  <a:latin typeface="Cambria Math" panose="02040503050406030204" pitchFamily="18" charset="0"/>
                                </a:rPr>
                                <m:t>𝑒𝑙</m:t>
                              </m:r>
                            </m:sub>
                            <m:sup/>
                            <m:e>
                              <m:sSubSup>
                                <m:sSubSupPr>
                                  <m:ctrlPr>
                                    <a:rPr lang="en-US" sz="1600" i="1">
                                      <a:latin typeface="Cambria Math" panose="02040503050406030204" pitchFamily="18" charset="0"/>
                                    </a:rPr>
                                  </m:ctrlPr>
                                </m:sSubSupPr>
                                <m:e>
                                  <m:r>
                                    <m:rPr>
                                      <m:sty m:val="p"/>
                                    </m:rPr>
                                    <a:rPr lang="en-US" sz="1600">
                                      <a:latin typeface="Cambria Math" panose="02040503050406030204" pitchFamily="18" charset="0"/>
                                    </a:rPr>
                                    <m:t>∇</m:t>
                                  </m:r>
                                </m:e>
                                <m:sub>
                                  <m:r>
                                    <a:rPr lang="en-US" sz="1600" i="1">
                                      <a:latin typeface="Cambria Math" panose="02040503050406030204" pitchFamily="18" charset="0"/>
                                    </a:rPr>
                                    <m:t>𝑖</m:t>
                                  </m:r>
                                </m:sub>
                                <m:sup>
                                  <m:r>
                                    <a:rPr lang="en-US" sz="1600" i="1">
                                      <a:latin typeface="Cambria Math" panose="02040503050406030204" pitchFamily="18" charset="0"/>
                                    </a:rPr>
                                    <m:t>2</m:t>
                                  </m:r>
                                </m:sup>
                              </m:sSubSup>
                            </m:e>
                          </m:nary>
                          <m:r>
                            <a:rPr lang="en-US" sz="1600" b="0" i="1" smtClean="0">
                              <a:latin typeface="Cambria Math" panose="02040503050406030204" pitchFamily="18" charset="0"/>
                            </a:rPr>
                            <m:t>+</m:t>
                          </m:r>
                          <m:f>
                            <m:fPr>
                              <m:ctrlPr>
                                <a:rPr lang="en-US" sz="1600" b="0" i="1" smtClean="0">
                                  <a:latin typeface="Cambria Math" panose="02040503050406030204" pitchFamily="18" charset="0"/>
                                </a:rPr>
                              </m:ctrlPr>
                            </m:fPr>
                            <m:num>
                              <m:r>
                                <a:rPr lang="en-US" sz="1600" b="0" i="1" smtClean="0">
                                  <a:latin typeface="Cambria Math" panose="02040503050406030204" pitchFamily="18" charset="0"/>
                                </a:rPr>
                                <m:t>1</m:t>
                              </m:r>
                            </m:num>
                            <m:den>
                              <m:r>
                                <a:rPr lang="en-US" sz="1600" b="0" i="1" smtClean="0">
                                  <a:latin typeface="Cambria Math" panose="02040503050406030204" pitchFamily="18" charset="0"/>
                                </a:rPr>
                                <m:t>2</m:t>
                              </m:r>
                            </m:den>
                          </m:f>
                          <m:nary>
                            <m:naryPr>
                              <m:chr m:val="∑"/>
                              <m:supHide m:val="on"/>
                              <m:ctrlPr>
                                <a:rPr lang="en-US" sz="1600" b="0" i="1" smtClean="0">
                                  <a:latin typeface="Cambria Math" panose="02040503050406030204" pitchFamily="18" charset="0"/>
                                </a:rPr>
                              </m:ctrlPr>
                            </m:naryPr>
                            <m:sub>
                              <m:r>
                                <a:rPr lang="en-US" sz="1600" b="0" i="1" smtClean="0">
                                  <a:latin typeface="Cambria Math" panose="02040503050406030204" pitchFamily="18" charset="0"/>
                                </a:rPr>
                                <m:t>𝑖</m:t>
                              </m:r>
                              <m:r>
                                <a:rPr lang="en-US" sz="1600" b="0" i="1" smtClean="0">
                                  <a:latin typeface="Cambria Math" panose="02040503050406030204" pitchFamily="18" charset="0"/>
                                </a:rPr>
                                <m:t>≠</m:t>
                              </m:r>
                              <m:r>
                                <a:rPr lang="en-US" sz="1600" b="0" i="1" smtClean="0">
                                  <a:latin typeface="Cambria Math" panose="02040503050406030204" pitchFamily="18" charset="0"/>
                                </a:rPr>
                                <m:t>𝑗</m:t>
                              </m:r>
                              <m:r>
                                <a:rPr lang="en-US" sz="1600" b="0" i="1" smtClean="0">
                                  <a:latin typeface="Cambria Math" panose="02040503050406030204" pitchFamily="18" charset="0"/>
                                </a:rPr>
                                <m:t>∈</m:t>
                              </m:r>
                              <m:r>
                                <a:rPr lang="en-US" sz="1600" b="0" i="1" smtClean="0">
                                  <a:latin typeface="Cambria Math" panose="02040503050406030204" pitchFamily="18" charset="0"/>
                                </a:rPr>
                                <m:t>𝑒𝑙</m:t>
                              </m:r>
                            </m:sub>
                            <m:sup/>
                            <m:e>
                              <m:f>
                                <m:fPr>
                                  <m:ctrlPr>
                                    <a:rPr lang="en-US" sz="1600" b="0" i="1" smtClean="0">
                                      <a:latin typeface="Cambria Math" panose="02040503050406030204" pitchFamily="18" charset="0"/>
                                    </a:rPr>
                                  </m:ctrlPr>
                                </m:fPr>
                                <m:num>
                                  <m:r>
                                    <a:rPr lang="en-US" sz="1600" b="0" i="1" smtClean="0">
                                      <a:latin typeface="Cambria Math" panose="02040503050406030204" pitchFamily="18" charset="0"/>
                                    </a:rPr>
                                    <m:t>1</m:t>
                                  </m:r>
                                </m:num>
                                <m:den>
                                  <m:r>
                                    <a:rPr lang="en-US" sz="1600" b="0" i="1" smtClean="0">
                                      <a:latin typeface="Cambria Math" panose="02040503050406030204" pitchFamily="18" charset="0"/>
                                    </a:rPr>
                                    <m:t>|</m:t>
                                  </m:r>
                                  <m:sSub>
                                    <m:sSubPr>
                                      <m:ctrlPr>
                                        <a:rPr lang="en-US" sz="1600" b="0"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𝑖</m:t>
                                      </m:r>
                                    </m:sub>
                                  </m:sSub>
                                  <m:r>
                                    <a:rPr lang="en-US" sz="1600" b="0" i="1" smtClean="0">
                                      <a:latin typeface="Cambria Math" panose="02040503050406030204" pitchFamily="18" charset="0"/>
                                    </a:rPr>
                                    <m:t>−</m:t>
                                  </m:r>
                                  <m:sSub>
                                    <m:sSubPr>
                                      <m:ctrlPr>
                                        <a:rPr lang="en-US" sz="1600" b="0"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𝑗</m:t>
                                      </m:r>
                                    </m:sub>
                                  </m:sSub>
                                  <m:r>
                                    <a:rPr lang="en-US" sz="1600" b="0" i="1" smtClean="0">
                                      <a:latin typeface="Cambria Math" panose="02040503050406030204" pitchFamily="18" charset="0"/>
                                    </a:rPr>
                                    <m:t>|</m:t>
                                  </m:r>
                                </m:den>
                              </m:f>
                              <m:r>
                                <a:rPr lang="en-US" sz="1600" b="0" i="1" smtClean="0">
                                  <a:latin typeface="Cambria Math" panose="02040503050406030204" pitchFamily="18" charset="0"/>
                                </a:rPr>
                                <m:t>−</m:t>
                              </m:r>
                              <m:nary>
                                <m:naryPr>
                                  <m:chr m:val="∑"/>
                                  <m:supHide m:val="on"/>
                                  <m:ctrlPr>
                                    <a:rPr lang="en-US" sz="1600" b="0" i="1" smtClean="0">
                                      <a:latin typeface="Cambria Math" panose="02040503050406030204" pitchFamily="18" charset="0"/>
                                    </a:rPr>
                                  </m:ctrlPr>
                                </m:naryPr>
                                <m:sub>
                                  <m:eqArr>
                                    <m:eqArrPr>
                                      <m:ctrlPr>
                                        <a:rPr lang="en-US" sz="1600" b="0" i="1" smtClean="0">
                                          <a:latin typeface="Cambria Math" panose="02040503050406030204" pitchFamily="18" charset="0"/>
                                        </a:rPr>
                                      </m:ctrlPr>
                                    </m:eqArrPr>
                                    <m:e>
                                      <m:r>
                                        <a:rPr lang="en-US" sz="1600" b="0" i="1" smtClean="0">
                                          <a:latin typeface="Cambria Math" panose="02040503050406030204" pitchFamily="18" charset="0"/>
                                        </a:rPr>
                                        <m:t>𝐼</m:t>
                                      </m:r>
                                      <m:r>
                                        <a:rPr lang="en-US" sz="1600" b="0" i="1" smtClean="0">
                                          <a:latin typeface="Cambria Math" panose="02040503050406030204" pitchFamily="18" charset="0"/>
                                        </a:rPr>
                                        <m:t>∈</m:t>
                                      </m:r>
                                      <m:r>
                                        <a:rPr lang="en-US" sz="1600" b="0" i="1" smtClean="0">
                                          <a:latin typeface="Cambria Math" panose="02040503050406030204" pitchFamily="18" charset="0"/>
                                        </a:rPr>
                                        <m:t>𝑛𝑢𝑐</m:t>
                                      </m:r>
                                    </m:e>
                                    <m:e>
                                      <m:r>
                                        <a:rPr lang="en-US" sz="1600" b="0" i="1" smtClean="0">
                                          <a:latin typeface="Cambria Math" panose="02040503050406030204" pitchFamily="18" charset="0"/>
                                        </a:rPr>
                                        <m:t>𝑖</m:t>
                                      </m:r>
                                      <m:r>
                                        <a:rPr lang="en-US" sz="1600" b="0" i="1" smtClean="0">
                                          <a:latin typeface="Cambria Math" panose="02040503050406030204" pitchFamily="18" charset="0"/>
                                        </a:rPr>
                                        <m:t>∈</m:t>
                                      </m:r>
                                      <m:r>
                                        <a:rPr lang="en-US" sz="1600" b="0" i="1" smtClean="0">
                                          <a:latin typeface="Cambria Math" panose="02040503050406030204" pitchFamily="18" charset="0"/>
                                        </a:rPr>
                                        <m:t>𝑒𝑙</m:t>
                                      </m:r>
                                    </m:e>
                                  </m:eqArr>
                                </m:sub>
                                <m:sup/>
                                <m:e>
                                  <m:f>
                                    <m:fPr>
                                      <m:ctrlPr>
                                        <a:rPr lang="en-US" sz="1600" b="0" i="1" smtClean="0">
                                          <a:latin typeface="Cambria Math" panose="02040503050406030204" pitchFamily="18" charset="0"/>
                                        </a:rPr>
                                      </m:ctrlPr>
                                    </m:fPr>
                                    <m:num>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𝑍</m:t>
                                          </m:r>
                                        </m:e>
                                        <m:sub>
                                          <m:r>
                                            <a:rPr lang="en-US" sz="1600" b="0" i="1" smtClean="0">
                                              <a:latin typeface="Cambria Math" panose="02040503050406030204" pitchFamily="18" charset="0"/>
                                            </a:rPr>
                                            <m:t>𝐼</m:t>
                                          </m:r>
                                        </m:sub>
                                      </m:sSub>
                                    </m:num>
                                    <m:den>
                                      <m:d>
                                        <m:dPr>
                                          <m:begChr m:val="|"/>
                                          <m:endChr m:val="|"/>
                                          <m:ctrlPr>
                                            <a:rPr lang="en-US" sz="1600" b="0" i="1" smtClean="0">
                                              <a:latin typeface="Cambria Math" panose="02040503050406030204" pitchFamily="18" charset="0"/>
                                            </a:rPr>
                                          </m:ctrlPr>
                                        </m:dPr>
                                        <m:e>
                                          <m:sSub>
                                            <m:sSubPr>
                                              <m:ctrlPr>
                                                <a:rPr lang="en-US" sz="1600" b="0" i="1" smtClean="0">
                                                  <a:latin typeface="Cambria Math" panose="02040503050406030204" pitchFamily="18" charset="0"/>
                                                </a:rPr>
                                              </m:ctrlPr>
                                            </m:sSubPr>
                                            <m:e>
                                              <m:r>
                                                <a:rPr lang="en-US" sz="1600" b="1" i="1" smtClean="0">
                                                  <a:latin typeface="Cambria Math" panose="02040503050406030204" pitchFamily="18" charset="0"/>
                                                </a:rPr>
                                                <m:t>𝒓</m:t>
                                              </m:r>
                                            </m:e>
                                            <m:sub>
                                              <m:r>
                                                <a:rPr lang="en-US" sz="1600" b="0" i="1" smtClean="0">
                                                  <a:latin typeface="Cambria Math" panose="02040503050406030204" pitchFamily="18" charset="0"/>
                                                </a:rPr>
                                                <m:t>𝑖</m:t>
                                              </m:r>
                                            </m:sub>
                                          </m:sSub>
                                          <m:r>
                                            <a:rPr lang="en-US" sz="1600" b="0" i="1" smtClean="0">
                                              <a:latin typeface="Cambria Math" panose="02040503050406030204" pitchFamily="18" charset="0"/>
                                            </a:rPr>
                                            <m:t>−</m:t>
                                          </m:r>
                                          <m:sSub>
                                            <m:sSubPr>
                                              <m:ctrlPr>
                                                <a:rPr lang="en-US" sz="1600" b="0" i="1" smtClean="0">
                                                  <a:latin typeface="Cambria Math" panose="02040503050406030204" pitchFamily="18" charset="0"/>
                                                </a:rPr>
                                              </m:ctrlPr>
                                            </m:sSubPr>
                                            <m:e>
                                              <m:r>
                                                <a:rPr lang="en-US" sz="1600" b="1" i="1" smtClean="0">
                                                  <a:latin typeface="Cambria Math" panose="02040503050406030204" pitchFamily="18" charset="0"/>
                                                </a:rPr>
                                                <m:t>𝑹</m:t>
                                              </m:r>
                                            </m:e>
                                            <m:sub>
                                              <m:r>
                                                <a:rPr lang="en-US" sz="1600" b="0" i="1" smtClean="0">
                                                  <a:latin typeface="Cambria Math" panose="02040503050406030204" pitchFamily="18" charset="0"/>
                                                </a:rPr>
                                                <m:t>𝐽</m:t>
                                              </m:r>
                                            </m:sub>
                                          </m:sSub>
                                        </m:e>
                                      </m:d>
                                    </m:den>
                                  </m:f>
                                </m:e>
                              </m:nary>
                            </m:e>
                          </m:nary>
                        </m:e>
                      </m:nary>
                    </m:oMath>
                  </m:oMathPara>
                </a14:m>
                <a:endParaRPr lang="en-US" sz="1600" dirty="0"/>
              </a:p>
              <a:p>
                <a:pPr marL="0" indent="0">
                  <a:buNone/>
                </a:pPr>
                <a:r>
                  <a:rPr lang="en-US" sz="1800" dirty="0"/>
                  <a:t>When the nuclei move much slower and electronic motion is quasi-instantaneous, the two problems decouple</a:t>
                </a:r>
              </a:p>
              <a:p>
                <a:pPr marL="0" indent="0">
                  <a:buNone/>
                </a:pPr>
                <a14:m>
                  <m:oMathPara xmlns:m="http://schemas.openxmlformats.org/officeDocument/2006/math">
                    <m:oMathParaPr>
                      <m:jc m:val="centerGroup"/>
                    </m:oMathParaPr>
                    <m:oMath xmlns:m="http://schemas.openxmlformats.org/officeDocument/2006/math">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𝐻</m:t>
                          </m:r>
                        </m:e>
                        <m:sub>
                          <m:r>
                            <a:rPr lang="en-US" sz="1600" b="0" i="1" smtClean="0">
                              <a:latin typeface="Cambria Math" panose="02040503050406030204" pitchFamily="18" charset="0"/>
                            </a:rPr>
                            <m:t>𝑒𝑙</m:t>
                          </m:r>
                        </m:sub>
                      </m:sSub>
                      <m:d>
                        <m:dPr>
                          <m:ctrlPr>
                            <a:rPr lang="en-US" sz="1600" b="0" i="1" smtClean="0">
                              <a:latin typeface="Cambria Math" panose="02040503050406030204" pitchFamily="18" charset="0"/>
                            </a:rPr>
                          </m:ctrlPr>
                        </m:dPr>
                        <m:e>
                          <m:r>
                            <a:rPr lang="en-US" sz="1600" b="1" i="1" smtClean="0">
                              <a:latin typeface="Cambria Math" panose="02040503050406030204" pitchFamily="18" charset="0"/>
                            </a:rPr>
                            <m:t>𝒓</m:t>
                          </m:r>
                          <m:r>
                            <a:rPr lang="en-US" sz="1600" b="0" i="1" smtClean="0">
                              <a:latin typeface="Cambria Math" panose="02040503050406030204" pitchFamily="18" charset="0"/>
                            </a:rPr>
                            <m:t>,</m:t>
                          </m:r>
                          <m:r>
                            <a:rPr lang="en-US" sz="1600" b="1" i="1" smtClean="0">
                              <a:latin typeface="Cambria Math" panose="02040503050406030204" pitchFamily="18" charset="0"/>
                            </a:rPr>
                            <m:t>𝑹</m:t>
                          </m:r>
                        </m:e>
                      </m:d>
                      <m:r>
                        <a:rPr lang="en-US" sz="1600" b="0" i="1" smtClean="0">
                          <a:latin typeface="Cambria Math" panose="02040503050406030204" pitchFamily="18" charset="0"/>
                        </a:rPr>
                        <m:t>=</m:t>
                      </m:r>
                      <m:r>
                        <a:rPr lang="en-US" sz="1600" i="1">
                          <a:latin typeface="Cambria Math" panose="02040503050406030204" pitchFamily="18" charset="0"/>
                        </a:rPr>
                        <m:t>−</m:t>
                      </m:r>
                      <m:f>
                        <m:fPr>
                          <m:ctrlPr>
                            <a:rPr lang="en-US" sz="1600" i="1">
                              <a:latin typeface="Cambria Math" panose="02040503050406030204" pitchFamily="18" charset="0"/>
                            </a:rPr>
                          </m:ctrlPr>
                        </m:fPr>
                        <m:num>
                          <m:r>
                            <a:rPr lang="en-US" sz="1600" i="1">
                              <a:latin typeface="Cambria Math" panose="02040503050406030204" pitchFamily="18" charset="0"/>
                            </a:rPr>
                            <m:t>1</m:t>
                          </m:r>
                        </m:num>
                        <m:den>
                          <m:r>
                            <a:rPr lang="en-US" sz="1600" i="1">
                              <a:latin typeface="Cambria Math" panose="02040503050406030204" pitchFamily="18" charset="0"/>
                            </a:rPr>
                            <m:t>2</m:t>
                          </m:r>
                        </m:den>
                      </m:f>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𝑖</m:t>
                          </m:r>
                          <m:r>
                            <a:rPr lang="en-US" sz="1600" i="1">
                              <a:latin typeface="Cambria Math" panose="02040503050406030204" pitchFamily="18" charset="0"/>
                            </a:rPr>
                            <m:t>∈</m:t>
                          </m:r>
                          <m:r>
                            <a:rPr lang="en-US" sz="1600" i="1">
                              <a:latin typeface="Cambria Math" panose="02040503050406030204" pitchFamily="18" charset="0"/>
                            </a:rPr>
                            <m:t>𝑒𝑙</m:t>
                          </m:r>
                        </m:sub>
                        <m:sup/>
                        <m:e>
                          <m:sSubSup>
                            <m:sSubSupPr>
                              <m:ctrlPr>
                                <a:rPr lang="en-US" sz="1600" i="1">
                                  <a:latin typeface="Cambria Math" panose="02040503050406030204" pitchFamily="18" charset="0"/>
                                </a:rPr>
                              </m:ctrlPr>
                            </m:sSubSupPr>
                            <m:e>
                              <m:r>
                                <m:rPr>
                                  <m:sty m:val="p"/>
                                </m:rPr>
                                <a:rPr lang="en-US" sz="1600">
                                  <a:latin typeface="Cambria Math" panose="02040503050406030204" pitchFamily="18" charset="0"/>
                                </a:rPr>
                                <m:t>∇</m:t>
                              </m:r>
                            </m:e>
                            <m:sub>
                              <m:r>
                                <a:rPr lang="en-US" sz="1600" i="1">
                                  <a:latin typeface="Cambria Math" panose="02040503050406030204" pitchFamily="18" charset="0"/>
                                </a:rPr>
                                <m:t>𝑖</m:t>
                              </m:r>
                            </m:sub>
                            <m:sup>
                              <m:r>
                                <a:rPr lang="en-US" sz="1600" i="1">
                                  <a:latin typeface="Cambria Math" panose="02040503050406030204" pitchFamily="18" charset="0"/>
                                </a:rPr>
                                <m:t>2</m:t>
                              </m:r>
                            </m:sup>
                          </m:sSubSup>
                        </m:e>
                      </m:nary>
                      <m:r>
                        <a:rPr lang="en-US" sz="1600" i="1">
                          <a:latin typeface="Cambria Math" panose="02040503050406030204" pitchFamily="18" charset="0"/>
                        </a:rPr>
                        <m:t>+</m:t>
                      </m:r>
                      <m:f>
                        <m:fPr>
                          <m:ctrlPr>
                            <a:rPr lang="en-US" sz="1600" i="1">
                              <a:latin typeface="Cambria Math" panose="02040503050406030204" pitchFamily="18" charset="0"/>
                            </a:rPr>
                          </m:ctrlPr>
                        </m:fPr>
                        <m:num>
                          <m:r>
                            <a:rPr lang="en-US" sz="1600" i="1">
                              <a:latin typeface="Cambria Math" panose="02040503050406030204" pitchFamily="18" charset="0"/>
                            </a:rPr>
                            <m:t>1</m:t>
                          </m:r>
                        </m:num>
                        <m:den>
                          <m:r>
                            <a:rPr lang="en-US" sz="1600" i="1">
                              <a:latin typeface="Cambria Math" panose="02040503050406030204" pitchFamily="18" charset="0"/>
                            </a:rPr>
                            <m:t>2</m:t>
                          </m:r>
                        </m:den>
                      </m:f>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𝑖</m:t>
                          </m:r>
                          <m:r>
                            <a:rPr lang="en-US" sz="1600" i="1">
                              <a:latin typeface="Cambria Math" panose="02040503050406030204" pitchFamily="18" charset="0"/>
                            </a:rPr>
                            <m:t>≠</m:t>
                          </m:r>
                          <m:r>
                            <a:rPr lang="en-US" sz="1600" i="1">
                              <a:latin typeface="Cambria Math" panose="02040503050406030204" pitchFamily="18" charset="0"/>
                            </a:rPr>
                            <m:t>𝑗</m:t>
                          </m:r>
                          <m:r>
                            <a:rPr lang="en-US" sz="1600" i="1">
                              <a:latin typeface="Cambria Math" panose="02040503050406030204" pitchFamily="18" charset="0"/>
                            </a:rPr>
                            <m:t>∈</m:t>
                          </m:r>
                          <m:r>
                            <a:rPr lang="en-US" sz="1600" i="1">
                              <a:latin typeface="Cambria Math" panose="02040503050406030204" pitchFamily="18" charset="0"/>
                            </a:rPr>
                            <m:t>𝑒𝑙</m:t>
                          </m:r>
                        </m:sub>
                        <m:sup/>
                        <m:e>
                          <m:f>
                            <m:fPr>
                              <m:ctrlPr>
                                <a:rPr lang="en-US" sz="1600" i="1">
                                  <a:latin typeface="Cambria Math" panose="02040503050406030204" pitchFamily="18" charset="0"/>
                                </a:rPr>
                              </m:ctrlPr>
                            </m:fPr>
                            <m:num>
                              <m:r>
                                <a:rPr lang="en-US" sz="1600" i="1">
                                  <a:latin typeface="Cambria Math" panose="02040503050406030204" pitchFamily="18" charset="0"/>
                                </a:rPr>
                                <m:t>1</m:t>
                              </m:r>
                            </m:num>
                            <m:den>
                              <m:d>
                                <m:dPr>
                                  <m:begChr m:val="|"/>
                                  <m:endChr m:val="|"/>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b="1" i="1">
                                          <a:latin typeface="Cambria Math" panose="02040503050406030204" pitchFamily="18" charset="0"/>
                                        </a:rPr>
                                        <m:t>𝒓</m:t>
                                      </m:r>
                                    </m:e>
                                    <m:sub>
                                      <m:r>
                                        <a:rPr lang="en-US" sz="1600" i="1">
                                          <a:latin typeface="Cambria Math" panose="02040503050406030204" pitchFamily="18" charset="0"/>
                                        </a:rPr>
                                        <m:t>𝑖</m:t>
                                      </m:r>
                                    </m:sub>
                                  </m:sSub>
                                  <m:r>
                                    <a:rPr lang="en-US" sz="1600" i="1">
                                      <a:latin typeface="Cambria Math" panose="02040503050406030204" pitchFamily="18" charset="0"/>
                                    </a:rPr>
                                    <m:t>−</m:t>
                                  </m:r>
                                  <m:sSub>
                                    <m:sSubPr>
                                      <m:ctrlPr>
                                        <a:rPr lang="en-US" sz="1600" i="1">
                                          <a:latin typeface="Cambria Math" panose="02040503050406030204" pitchFamily="18" charset="0"/>
                                        </a:rPr>
                                      </m:ctrlPr>
                                    </m:sSubPr>
                                    <m:e>
                                      <m:r>
                                        <a:rPr lang="en-US" sz="1600" b="1" i="1">
                                          <a:latin typeface="Cambria Math" panose="02040503050406030204" pitchFamily="18" charset="0"/>
                                        </a:rPr>
                                        <m:t>𝒓</m:t>
                                      </m:r>
                                    </m:e>
                                    <m:sub>
                                      <m:r>
                                        <a:rPr lang="en-US" sz="1600" i="1">
                                          <a:latin typeface="Cambria Math" panose="02040503050406030204" pitchFamily="18" charset="0"/>
                                        </a:rPr>
                                        <m:t>𝑗</m:t>
                                      </m:r>
                                    </m:sub>
                                  </m:sSub>
                                </m:e>
                              </m:d>
                            </m:den>
                          </m:f>
                          <m:r>
                            <a:rPr lang="en-US" sz="1600" i="1">
                              <a:latin typeface="Cambria Math" panose="02040503050406030204" pitchFamily="18" charset="0"/>
                            </a:rPr>
                            <m:t>−</m:t>
                          </m:r>
                          <m:nary>
                            <m:naryPr>
                              <m:chr m:val="∑"/>
                              <m:supHide m:val="on"/>
                              <m:ctrlPr>
                                <a:rPr lang="en-US" sz="1600" i="1">
                                  <a:latin typeface="Cambria Math" panose="02040503050406030204" pitchFamily="18" charset="0"/>
                                </a:rPr>
                              </m:ctrlPr>
                            </m:naryPr>
                            <m:sub>
                              <m:eqArr>
                                <m:eqArrPr>
                                  <m:ctrlPr>
                                    <a:rPr lang="en-US" sz="1600" i="1">
                                      <a:latin typeface="Cambria Math" panose="02040503050406030204" pitchFamily="18" charset="0"/>
                                    </a:rPr>
                                  </m:ctrlPr>
                                </m:eqArrPr>
                                <m:e>
                                  <m:r>
                                    <a:rPr lang="en-US" sz="1600" i="1">
                                      <a:latin typeface="Cambria Math" panose="02040503050406030204" pitchFamily="18" charset="0"/>
                                    </a:rPr>
                                    <m:t>𝐼</m:t>
                                  </m:r>
                                  <m:r>
                                    <a:rPr lang="en-US" sz="1600" i="1">
                                      <a:latin typeface="Cambria Math" panose="02040503050406030204" pitchFamily="18" charset="0"/>
                                    </a:rPr>
                                    <m:t>∈</m:t>
                                  </m:r>
                                  <m:r>
                                    <a:rPr lang="en-US" sz="1600" i="1">
                                      <a:latin typeface="Cambria Math" panose="02040503050406030204" pitchFamily="18" charset="0"/>
                                    </a:rPr>
                                    <m:t>𝑛𝑢𝑐</m:t>
                                  </m:r>
                                </m:e>
                                <m:e>
                                  <m:r>
                                    <a:rPr lang="en-US" sz="1600" i="1">
                                      <a:latin typeface="Cambria Math" panose="02040503050406030204" pitchFamily="18" charset="0"/>
                                    </a:rPr>
                                    <m:t>𝑖</m:t>
                                  </m:r>
                                  <m:r>
                                    <a:rPr lang="en-US" sz="1600" i="1">
                                      <a:latin typeface="Cambria Math" panose="02040503050406030204" pitchFamily="18" charset="0"/>
                                    </a:rPr>
                                    <m:t>∈</m:t>
                                  </m:r>
                                  <m:r>
                                    <a:rPr lang="en-US" sz="1600" i="1">
                                      <a:latin typeface="Cambria Math" panose="02040503050406030204" pitchFamily="18" charset="0"/>
                                    </a:rPr>
                                    <m:t>𝑒𝑙</m:t>
                                  </m:r>
                                </m:e>
                              </m:eqArr>
                            </m:sub>
                            <m:sup/>
                            <m:e>
                              <m:f>
                                <m:fPr>
                                  <m:ctrlPr>
                                    <a:rPr lang="en-US" sz="1600" i="1">
                                      <a:latin typeface="Cambria Math" panose="02040503050406030204" pitchFamily="18" charset="0"/>
                                    </a:rPr>
                                  </m:ctrlPr>
                                </m:fPr>
                                <m:num>
                                  <m:sSub>
                                    <m:sSubPr>
                                      <m:ctrlPr>
                                        <a:rPr lang="en-US" sz="1600" i="1">
                                          <a:latin typeface="Cambria Math" panose="02040503050406030204" pitchFamily="18" charset="0"/>
                                        </a:rPr>
                                      </m:ctrlPr>
                                    </m:sSubPr>
                                    <m:e>
                                      <m:r>
                                        <a:rPr lang="en-US" sz="1600" i="1">
                                          <a:latin typeface="Cambria Math" panose="02040503050406030204" pitchFamily="18" charset="0"/>
                                        </a:rPr>
                                        <m:t>𝑍</m:t>
                                      </m:r>
                                    </m:e>
                                    <m:sub>
                                      <m:r>
                                        <a:rPr lang="en-US" sz="1600" i="1">
                                          <a:latin typeface="Cambria Math" panose="02040503050406030204" pitchFamily="18" charset="0"/>
                                        </a:rPr>
                                        <m:t>𝐼</m:t>
                                      </m:r>
                                    </m:sub>
                                  </m:sSub>
                                </m:num>
                                <m:den>
                                  <m:d>
                                    <m:dPr>
                                      <m:begChr m:val="|"/>
                                      <m:endChr m:val="|"/>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b="1" i="1">
                                              <a:latin typeface="Cambria Math" panose="02040503050406030204" pitchFamily="18" charset="0"/>
                                            </a:rPr>
                                            <m:t>𝒓</m:t>
                                          </m:r>
                                        </m:e>
                                        <m:sub>
                                          <m:r>
                                            <a:rPr lang="en-US" sz="1600" i="1">
                                              <a:latin typeface="Cambria Math" panose="02040503050406030204" pitchFamily="18" charset="0"/>
                                            </a:rPr>
                                            <m:t>𝑖</m:t>
                                          </m:r>
                                        </m:sub>
                                      </m:sSub>
                                      <m:r>
                                        <a:rPr lang="en-US" sz="1600" i="1">
                                          <a:latin typeface="Cambria Math" panose="02040503050406030204" pitchFamily="18" charset="0"/>
                                        </a:rPr>
                                        <m:t>−</m:t>
                                      </m:r>
                                      <m:sSub>
                                        <m:sSubPr>
                                          <m:ctrlPr>
                                            <a:rPr lang="en-US" sz="1600" i="1">
                                              <a:latin typeface="Cambria Math" panose="02040503050406030204" pitchFamily="18" charset="0"/>
                                            </a:rPr>
                                          </m:ctrlPr>
                                        </m:sSubPr>
                                        <m:e>
                                          <m:r>
                                            <a:rPr lang="en-US" sz="1600" b="1" i="1">
                                              <a:latin typeface="Cambria Math" panose="02040503050406030204" pitchFamily="18" charset="0"/>
                                            </a:rPr>
                                            <m:t>𝑹</m:t>
                                          </m:r>
                                        </m:e>
                                        <m:sub>
                                          <m:r>
                                            <a:rPr lang="en-US" sz="1600" i="1">
                                              <a:latin typeface="Cambria Math" panose="02040503050406030204" pitchFamily="18" charset="0"/>
                                            </a:rPr>
                                            <m:t>𝐽</m:t>
                                          </m:r>
                                        </m:sub>
                                      </m:sSub>
                                    </m:e>
                                  </m:d>
                                </m:den>
                              </m:f>
                            </m:e>
                          </m:nary>
                        </m:e>
                      </m:nary>
                    </m:oMath>
                    <m:oMath xmlns:m="http://schemas.openxmlformats.org/officeDocument/2006/math">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𝐻</m:t>
                          </m:r>
                        </m:e>
                        <m:sub>
                          <m:r>
                            <a:rPr lang="en-US" sz="1600" b="0" i="1" smtClean="0">
                              <a:latin typeface="Cambria Math" panose="02040503050406030204" pitchFamily="18" charset="0"/>
                            </a:rPr>
                            <m:t>𝑛𝑢𝑐</m:t>
                          </m:r>
                        </m:sub>
                      </m:sSub>
                      <m:d>
                        <m:dPr>
                          <m:ctrlPr>
                            <a:rPr lang="en-US" sz="1600" b="0" i="1" smtClean="0">
                              <a:latin typeface="Cambria Math" panose="02040503050406030204" pitchFamily="18" charset="0"/>
                            </a:rPr>
                          </m:ctrlPr>
                        </m:dPr>
                        <m:e>
                          <m:r>
                            <a:rPr lang="en-US" sz="1600" b="1" i="1" smtClean="0">
                              <a:latin typeface="Cambria Math" panose="02040503050406030204" pitchFamily="18" charset="0"/>
                            </a:rPr>
                            <m:t>𝑹</m:t>
                          </m:r>
                        </m:e>
                      </m:d>
                      <m:r>
                        <a:rPr lang="en-US" sz="1600" b="0" i="1" smtClean="0">
                          <a:latin typeface="Cambria Math" panose="02040503050406030204" pitchFamily="18" charset="0"/>
                        </a:rPr>
                        <m:t>= </m:t>
                      </m:r>
                      <m:r>
                        <a:rPr lang="en-US" sz="1600" i="1">
                          <a:latin typeface="Cambria Math" panose="02040503050406030204" pitchFamily="18" charset="0"/>
                        </a:rPr>
                        <m:t>−</m:t>
                      </m:r>
                      <m:f>
                        <m:fPr>
                          <m:ctrlPr>
                            <a:rPr lang="en-US" sz="1600" i="1">
                              <a:latin typeface="Cambria Math" panose="02040503050406030204" pitchFamily="18" charset="0"/>
                            </a:rPr>
                          </m:ctrlPr>
                        </m:fPr>
                        <m:num>
                          <m:r>
                            <a:rPr lang="en-US" sz="1600" i="1">
                              <a:latin typeface="Cambria Math" panose="02040503050406030204" pitchFamily="18" charset="0"/>
                            </a:rPr>
                            <m:t>1</m:t>
                          </m:r>
                        </m:num>
                        <m:den>
                          <m:r>
                            <a:rPr lang="en-US" sz="1600" i="1">
                              <a:latin typeface="Cambria Math" panose="02040503050406030204" pitchFamily="18" charset="0"/>
                            </a:rPr>
                            <m:t>2</m:t>
                          </m:r>
                        </m:den>
                      </m:f>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𝐼</m:t>
                          </m:r>
                          <m:r>
                            <a:rPr lang="en-US" sz="1600" i="1">
                              <a:latin typeface="Cambria Math" panose="02040503050406030204" pitchFamily="18" charset="0"/>
                            </a:rPr>
                            <m:t>∈</m:t>
                          </m:r>
                          <m:r>
                            <a:rPr lang="en-US" sz="1600" i="1">
                              <a:latin typeface="Cambria Math" panose="02040503050406030204" pitchFamily="18" charset="0"/>
                            </a:rPr>
                            <m:t>𝑛𝑢𝑐</m:t>
                          </m:r>
                        </m:sub>
                        <m:sup/>
                        <m:e>
                          <m:f>
                            <m:fPr>
                              <m:ctrlPr>
                                <a:rPr lang="en-US" sz="1600" i="1">
                                  <a:latin typeface="Cambria Math" panose="02040503050406030204" pitchFamily="18" charset="0"/>
                                </a:rPr>
                              </m:ctrlPr>
                            </m:fPr>
                            <m:num>
                              <m:sSubSup>
                                <m:sSubSupPr>
                                  <m:ctrlPr>
                                    <a:rPr lang="en-US" sz="1600" i="1">
                                      <a:latin typeface="Cambria Math" panose="02040503050406030204" pitchFamily="18" charset="0"/>
                                    </a:rPr>
                                  </m:ctrlPr>
                                </m:sSubSupPr>
                                <m:e>
                                  <m:r>
                                    <m:rPr>
                                      <m:sty m:val="p"/>
                                    </m:rPr>
                                    <a:rPr lang="en-US" sz="1600">
                                      <a:latin typeface="Cambria Math" panose="02040503050406030204" pitchFamily="18" charset="0"/>
                                    </a:rPr>
                                    <m:t>∇</m:t>
                                  </m:r>
                                </m:e>
                                <m:sub>
                                  <m:r>
                                    <a:rPr lang="en-US" sz="1600" i="1">
                                      <a:latin typeface="Cambria Math" panose="02040503050406030204" pitchFamily="18" charset="0"/>
                                    </a:rPr>
                                    <m:t>𝐼</m:t>
                                  </m:r>
                                </m:sub>
                                <m:sup>
                                  <m:r>
                                    <a:rPr lang="en-US" sz="1600" i="1">
                                      <a:latin typeface="Cambria Math" panose="02040503050406030204" pitchFamily="18" charset="0"/>
                                    </a:rPr>
                                    <m:t>2</m:t>
                                  </m:r>
                                </m:sup>
                              </m:sSubSup>
                            </m:num>
                            <m:den>
                              <m:sSub>
                                <m:sSubPr>
                                  <m:ctrlPr>
                                    <a:rPr lang="en-US" sz="1600" i="1">
                                      <a:latin typeface="Cambria Math" panose="02040503050406030204" pitchFamily="18" charset="0"/>
                                    </a:rPr>
                                  </m:ctrlPr>
                                </m:sSubPr>
                                <m:e>
                                  <m:r>
                                    <a:rPr lang="en-US" sz="1600" i="1">
                                      <a:latin typeface="Cambria Math" panose="02040503050406030204" pitchFamily="18" charset="0"/>
                                    </a:rPr>
                                    <m:t>𝑀</m:t>
                                  </m:r>
                                </m:e>
                                <m:sub>
                                  <m:r>
                                    <a:rPr lang="en-US" sz="1600" i="1">
                                      <a:latin typeface="Cambria Math" panose="02040503050406030204" pitchFamily="18" charset="0"/>
                                    </a:rPr>
                                    <m:t>𝐼</m:t>
                                  </m:r>
                                </m:sub>
                              </m:sSub>
                            </m:den>
                          </m:f>
                        </m:e>
                      </m:nary>
                      <m:r>
                        <a:rPr lang="en-US" sz="1600" i="1">
                          <a:latin typeface="Cambria Math" panose="02040503050406030204" pitchFamily="18" charset="0"/>
                        </a:rPr>
                        <m:t>+</m:t>
                      </m:r>
                      <m:f>
                        <m:fPr>
                          <m:ctrlPr>
                            <a:rPr lang="en-US" sz="1600" i="1">
                              <a:latin typeface="Cambria Math" panose="02040503050406030204" pitchFamily="18" charset="0"/>
                            </a:rPr>
                          </m:ctrlPr>
                        </m:fPr>
                        <m:num>
                          <m:r>
                            <a:rPr lang="en-US" sz="1600" i="1">
                              <a:latin typeface="Cambria Math" panose="02040503050406030204" pitchFamily="18" charset="0"/>
                            </a:rPr>
                            <m:t>1</m:t>
                          </m:r>
                        </m:num>
                        <m:den>
                          <m:r>
                            <a:rPr lang="en-US" sz="1600" i="1">
                              <a:latin typeface="Cambria Math" panose="02040503050406030204" pitchFamily="18" charset="0"/>
                            </a:rPr>
                            <m:t>2</m:t>
                          </m:r>
                        </m:den>
                      </m:f>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𝐼</m:t>
                          </m:r>
                          <m:r>
                            <a:rPr lang="en-US" sz="1600" i="1">
                              <a:latin typeface="Cambria Math" panose="02040503050406030204" pitchFamily="18" charset="0"/>
                            </a:rPr>
                            <m:t>≠</m:t>
                          </m:r>
                          <m:r>
                            <a:rPr lang="en-US" sz="1600" i="1">
                              <a:latin typeface="Cambria Math" panose="02040503050406030204" pitchFamily="18" charset="0"/>
                            </a:rPr>
                            <m:t>𝐽</m:t>
                          </m:r>
                          <m:r>
                            <a:rPr lang="en-US" sz="1600" i="1">
                              <a:latin typeface="Cambria Math" panose="02040503050406030204" pitchFamily="18" charset="0"/>
                            </a:rPr>
                            <m:t>∈</m:t>
                          </m:r>
                          <m:r>
                            <a:rPr lang="en-US" sz="1600" i="1">
                              <a:latin typeface="Cambria Math" panose="02040503050406030204" pitchFamily="18" charset="0"/>
                            </a:rPr>
                            <m:t>𝑛𝑢𝑐</m:t>
                          </m:r>
                        </m:sub>
                        <m:sup/>
                        <m:e>
                          <m:f>
                            <m:fPr>
                              <m:ctrlPr>
                                <a:rPr lang="en-US" sz="1600" i="1">
                                  <a:latin typeface="Cambria Math" panose="02040503050406030204" pitchFamily="18" charset="0"/>
                                </a:rPr>
                              </m:ctrlPr>
                            </m:fPr>
                            <m:num>
                              <m:sSub>
                                <m:sSubPr>
                                  <m:ctrlPr>
                                    <a:rPr lang="en-US" sz="1600" i="1">
                                      <a:latin typeface="Cambria Math" panose="02040503050406030204" pitchFamily="18" charset="0"/>
                                    </a:rPr>
                                  </m:ctrlPr>
                                </m:sSubPr>
                                <m:e>
                                  <m:r>
                                    <a:rPr lang="en-US" sz="1600" i="1">
                                      <a:latin typeface="Cambria Math" panose="02040503050406030204" pitchFamily="18" charset="0"/>
                                    </a:rPr>
                                    <m:t>𝑍</m:t>
                                  </m:r>
                                </m:e>
                                <m:sub>
                                  <m:r>
                                    <a:rPr lang="en-US" sz="1600" i="1">
                                      <a:latin typeface="Cambria Math" panose="02040503050406030204" pitchFamily="18" charset="0"/>
                                    </a:rPr>
                                    <m:t>𝐼</m:t>
                                  </m:r>
                                </m:sub>
                              </m:sSub>
                              <m:sSub>
                                <m:sSubPr>
                                  <m:ctrlPr>
                                    <a:rPr lang="en-US" sz="1600" i="1">
                                      <a:latin typeface="Cambria Math" panose="02040503050406030204" pitchFamily="18" charset="0"/>
                                    </a:rPr>
                                  </m:ctrlPr>
                                </m:sSubPr>
                                <m:e>
                                  <m:r>
                                    <a:rPr lang="en-US" sz="1600" i="1">
                                      <a:latin typeface="Cambria Math" panose="02040503050406030204" pitchFamily="18" charset="0"/>
                                    </a:rPr>
                                    <m:t>𝑍</m:t>
                                  </m:r>
                                </m:e>
                                <m:sub>
                                  <m:r>
                                    <a:rPr lang="en-US" sz="1600" i="1">
                                      <a:latin typeface="Cambria Math" panose="02040503050406030204" pitchFamily="18" charset="0"/>
                                    </a:rPr>
                                    <m:t>𝐽</m:t>
                                  </m:r>
                                </m:sub>
                              </m:sSub>
                            </m:num>
                            <m:den>
                              <m:d>
                                <m:dPr>
                                  <m:begChr m:val="|"/>
                                  <m:endChr m:val="|"/>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b="1" i="1">
                                          <a:latin typeface="Cambria Math" panose="02040503050406030204" pitchFamily="18" charset="0"/>
                                        </a:rPr>
                                        <m:t>𝑹</m:t>
                                      </m:r>
                                    </m:e>
                                    <m:sub>
                                      <m:r>
                                        <a:rPr lang="en-US" sz="1600" i="1">
                                          <a:latin typeface="Cambria Math" panose="02040503050406030204" pitchFamily="18" charset="0"/>
                                        </a:rPr>
                                        <m:t>𝐼</m:t>
                                      </m:r>
                                    </m:sub>
                                  </m:sSub>
                                  <m:r>
                                    <a:rPr lang="en-US" sz="1600" i="1">
                                      <a:latin typeface="Cambria Math" panose="02040503050406030204" pitchFamily="18" charset="0"/>
                                    </a:rPr>
                                    <m:t>−</m:t>
                                  </m:r>
                                  <m:sSub>
                                    <m:sSubPr>
                                      <m:ctrlPr>
                                        <a:rPr lang="en-US" sz="1600" i="1">
                                          <a:latin typeface="Cambria Math" panose="02040503050406030204" pitchFamily="18" charset="0"/>
                                        </a:rPr>
                                      </m:ctrlPr>
                                    </m:sSubPr>
                                    <m:e>
                                      <m:r>
                                        <a:rPr lang="en-US" sz="1600" b="1" i="1">
                                          <a:latin typeface="Cambria Math" panose="02040503050406030204" pitchFamily="18" charset="0"/>
                                        </a:rPr>
                                        <m:t>𝑹</m:t>
                                      </m:r>
                                    </m:e>
                                    <m:sub>
                                      <m:r>
                                        <a:rPr lang="en-US" sz="1600" i="1">
                                          <a:latin typeface="Cambria Math" panose="02040503050406030204" pitchFamily="18" charset="0"/>
                                        </a:rPr>
                                        <m:t>𝐽</m:t>
                                      </m:r>
                                    </m:sub>
                                  </m:sSub>
                                </m:e>
                              </m:d>
                            </m:den>
                          </m:f>
                          <m:r>
                            <a:rPr lang="en-US" sz="1600" b="0" i="1" smtClean="0">
                              <a:latin typeface="Cambria Math" panose="02040503050406030204" pitchFamily="18" charset="0"/>
                            </a:rPr>
                            <m:t>+</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𝐸</m:t>
                              </m:r>
                            </m:e>
                            <m:sub>
                              <m:r>
                                <a:rPr lang="en-US" sz="1600" b="0" i="1" smtClean="0">
                                  <a:latin typeface="Cambria Math" panose="02040503050406030204" pitchFamily="18" charset="0"/>
                                </a:rPr>
                                <m:t>𝑒𝑙</m:t>
                              </m:r>
                            </m:sub>
                          </m:sSub>
                          <m:r>
                            <a:rPr lang="en-US" sz="1600" b="0" i="1" smtClean="0">
                              <a:latin typeface="Cambria Math" panose="02040503050406030204" pitchFamily="18" charset="0"/>
                            </a:rPr>
                            <m:t>(</m:t>
                          </m:r>
                          <m:r>
                            <a:rPr lang="en-US" sz="1600" b="1" i="1" smtClean="0">
                              <a:latin typeface="Cambria Math" panose="02040503050406030204" pitchFamily="18" charset="0"/>
                            </a:rPr>
                            <m:t>𝑹</m:t>
                          </m:r>
                          <m:r>
                            <a:rPr lang="en-US" sz="1600" b="0" i="1" smtClean="0">
                              <a:latin typeface="Cambria Math" panose="02040503050406030204" pitchFamily="18" charset="0"/>
                            </a:rPr>
                            <m:t>)</m:t>
                          </m:r>
                        </m:e>
                      </m:nary>
                    </m:oMath>
                  </m:oMathPara>
                </a14:m>
                <a:endParaRPr lang="en-US" sz="1600" dirty="0"/>
              </a:p>
            </p:txBody>
          </p:sp>
        </mc:Choice>
        <mc:Fallback xmlns="">
          <p:sp>
            <p:nvSpPr>
              <p:cNvPr id="3" name="Content Placeholder 2">
                <a:extLst>
                  <a:ext uri="{FF2B5EF4-FFF2-40B4-BE49-F238E27FC236}">
                    <a16:creationId xmlns:a16="http://schemas.microsoft.com/office/drawing/2014/main" id="{99D65627-B51E-4E9B-A3DD-C153CECBBC02}"/>
                  </a:ext>
                </a:extLst>
              </p:cNvPr>
              <p:cNvSpPr>
                <a:spLocks noGrp="1" noRot="1" noChangeAspect="1" noMove="1" noResize="1" noEditPoints="1" noAdjustHandles="1" noChangeArrowheads="1" noChangeShapeType="1" noTextEdit="1"/>
              </p:cNvSpPr>
              <p:nvPr>
                <p:ph idx="1"/>
              </p:nvPr>
            </p:nvSpPr>
            <p:spPr>
              <a:blipFill>
                <a:blip r:embed="rId2"/>
                <a:stretch>
                  <a:fillRect l="-1667" t="-2334"/>
                </a:stretch>
              </a:blipFill>
            </p:spPr>
            <p:txBody>
              <a:bodyPr/>
              <a:lstStyle/>
              <a:p>
                <a:r>
                  <a:rPr lang="en-US">
                    <a:noFill/>
                  </a:rPr>
                  <a:t> </a:t>
                </a:r>
              </a:p>
            </p:txBody>
          </p:sp>
        </mc:Fallback>
      </mc:AlternateContent>
    </p:spTree>
    <p:extLst>
      <p:ext uri="{BB962C8B-B14F-4D97-AF65-F5344CB8AC3E}">
        <p14:creationId xmlns:p14="http://schemas.microsoft.com/office/powerpoint/2010/main" val="15507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CD5524B-202E-439D-ACEC-55946B0598B4}"/>
              </a:ext>
            </a:extLst>
          </p:cNvPr>
          <p:cNvSpPr>
            <a:spLocks noGrp="1"/>
          </p:cNvSpPr>
          <p:nvPr>
            <p:ph type="title"/>
          </p:nvPr>
        </p:nvSpPr>
        <p:spPr/>
        <p:txBody>
          <a:bodyPr/>
          <a:lstStyle/>
          <a:p>
            <a:r>
              <a:rPr lang="en-US" dirty="0"/>
              <a:t>Born-Oppenheimer</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9D65627-B51E-4E9B-A3DD-C153CECBBC02}"/>
                  </a:ext>
                </a:extLst>
              </p:cNvPr>
              <p:cNvSpPr>
                <a:spLocks noGrp="1"/>
              </p:cNvSpPr>
              <p:nvPr>
                <p:ph idx="1"/>
              </p:nvPr>
            </p:nvSpPr>
            <p:spPr/>
            <p:txBody>
              <a:bodyPr/>
              <a:lstStyle/>
              <a:p>
                <a:pPr marL="0" indent="0">
                  <a:buNone/>
                </a:pPr>
                <a:r>
                  <a:rPr lang="en-US" sz="1800" b="0" dirty="0">
                    <a:latin typeface="+mn-lt"/>
                  </a:rPr>
                  <a:t>If we assume the nuclei move like classical particles, the Hamiltonian is</a:t>
                </a:r>
              </a:p>
              <a:p>
                <a:pPr marL="0" indent="0">
                  <a:buNone/>
                </a:pPr>
                <a14:m>
                  <m:oMathPara xmlns:m="http://schemas.openxmlformats.org/officeDocument/2006/math">
                    <m:oMathParaPr>
                      <m:jc m:val="centerGroup"/>
                    </m:oMathParaPr>
                    <m:oMath xmlns:m="http://schemas.openxmlformats.org/officeDocument/2006/math">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𝐻</m:t>
                          </m:r>
                        </m:e>
                        <m:sub>
                          <m:r>
                            <a:rPr lang="en-US" sz="1600" b="0" i="1" smtClean="0">
                              <a:latin typeface="Cambria Math" panose="02040503050406030204" pitchFamily="18" charset="0"/>
                            </a:rPr>
                            <m:t>𝑛𝑢𝑐</m:t>
                          </m:r>
                        </m:sub>
                      </m:sSub>
                      <m:d>
                        <m:dPr>
                          <m:ctrlPr>
                            <a:rPr lang="en-US" sz="1600" b="0" i="1" smtClean="0">
                              <a:latin typeface="Cambria Math" panose="02040503050406030204" pitchFamily="18" charset="0"/>
                            </a:rPr>
                          </m:ctrlPr>
                        </m:dPr>
                        <m:e>
                          <m:r>
                            <a:rPr lang="en-US" sz="1600" b="1" i="1" smtClean="0">
                              <a:latin typeface="Cambria Math" panose="02040503050406030204" pitchFamily="18" charset="0"/>
                            </a:rPr>
                            <m:t>𝑹</m:t>
                          </m:r>
                        </m:e>
                      </m:d>
                      <m:r>
                        <a:rPr lang="en-US" sz="1600" b="0" i="1" smtClean="0">
                          <a:latin typeface="Cambria Math" panose="02040503050406030204" pitchFamily="18" charset="0"/>
                        </a:rPr>
                        <m:t>= </m:t>
                      </m:r>
                      <m:f>
                        <m:fPr>
                          <m:ctrlPr>
                            <a:rPr lang="en-US" sz="1600" i="1">
                              <a:latin typeface="Cambria Math" panose="02040503050406030204" pitchFamily="18" charset="0"/>
                            </a:rPr>
                          </m:ctrlPr>
                        </m:fPr>
                        <m:num>
                          <m:r>
                            <a:rPr lang="en-US" sz="1600" i="1">
                              <a:latin typeface="Cambria Math" panose="02040503050406030204" pitchFamily="18" charset="0"/>
                            </a:rPr>
                            <m:t>1</m:t>
                          </m:r>
                        </m:num>
                        <m:den>
                          <m:r>
                            <a:rPr lang="en-US" sz="1600" i="1">
                              <a:latin typeface="Cambria Math" panose="02040503050406030204" pitchFamily="18" charset="0"/>
                            </a:rPr>
                            <m:t>2</m:t>
                          </m:r>
                        </m:den>
                      </m:f>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𝐼</m:t>
                          </m:r>
                          <m:r>
                            <a:rPr lang="en-US" sz="1600" i="1">
                              <a:latin typeface="Cambria Math" panose="02040503050406030204" pitchFamily="18" charset="0"/>
                            </a:rPr>
                            <m:t>∈</m:t>
                          </m:r>
                          <m:r>
                            <a:rPr lang="en-US" sz="1600" i="1">
                              <a:latin typeface="Cambria Math" panose="02040503050406030204" pitchFamily="18" charset="0"/>
                            </a:rPr>
                            <m:t>𝑛𝑢𝑐</m:t>
                          </m:r>
                        </m:sub>
                        <m:sup/>
                        <m:e>
                          <m:f>
                            <m:fPr>
                              <m:ctrlPr>
                                <a:rPr lang="en-US" sz="1600" i="1">
                                  <a:latin typeface="Cambria Math" panose="02040503050406030204" pitchFamily="18" charset="0"/>
                                </a:rPr>
                              </m:ctrlPr>
                            </m:fPr>
                            <m:num>
                              <m:sSubSup>
                                <m:sSubSupPr>
                                  <m:ctrlPr>
                                    <a:rPr lang="en-US" sz="1600" i="1">
                                      <a:latin typeface="Cambria Math" panose="02040503050406030204" pitchFamily="18" charset="0"/>
                                    </a:rPr>
                                  </m:ctrlPr>
                                </m:sSubSupPr>
                                <m:e>
                                  <m:r>
                                    <m:rPr>
                                      <m:sty m:val="p"/>
                                    </m:rPr>
                                    <a:rPr lang="en-US" sz="1600" b="0" i="0" smtClean="0">
                                      <a:latin typeface="Cambria Math" panose="02040503050406030204" pitchFamily="18" charset="0"/>
                                    </a:rPr>
                                    <m:t>P</m:t>
                                  </m:r>
                                </m:e>
                                <m:sub>
                                  <m:r>
                                    <a:rPr lang="en-US" sz="1600" i="1">
                                      <a:latin typeface="Cambria Math" panose="02040503050406030204" pitchFamily="18" charset="0"/>
                                    </a:rPr>
                                    <m:t>𝐼</m:t>
                                  </m:r>
                                </m:sub>
                                <m:sup>
                                  <m:r>
                                    <a:rPr lang="en-US" sz="1600" i="1">
                                      <a:latin typeface="Cambria Math" panose="02040503050406030204" pitchFamily="18" charset="0"/>
                                    </a:rPr>
                                    <m:t>2</m:t>
                                  </m:r>
                                </m:sup>
                              </m:sSubSup>
                            </m:num>
                            <m:den>
                              <m:sSub>
                                <m:sSubPr>
                                  <m:ctrlPr>
                                    <a:rPr lang="en-US" sz="1600" i="1">
                                      <a:latin typeface="Cambria Math" panose="02040503050406030204" pitchFamily="18" charset="0"/>
                                    </a:rPr>
                                  </m:ctrlPr>
                                </m:sSubPr>
                                <m:e>
                                  <m:r>
                                    <a:rPr lang="en-US" sz="1600" i="1">
                                      <a:latin typeface="Cambria Math" panose="02040503050406030204" pitchFamily="18" charset="0"/>
                                    </a:rPr>
                                    <m:t>𝑀</m:t>
                                  </m:r>
                                </m:e>
                                <m:sub>
                                  <m:r>
                                    <a:rPr lang="en-US" sz="1600" i="1">
                                      <a:latin typeface="Cambria Math" panose="02040503050406030204" pitchFamily="18" charset="0"/>
                                    </a:rPr>
                                    <m:t>𝐼</m:t>
                                  </m:r>
                                </m:sub>
                              </m:sSub>
                            </m:den>
                          </m:f>
                        </m:e>
                      </m:nary>
                      <m:r>
                        <a:rPr lang="en-US" sz="1600" i="1">
                          <a:latin typeface="Cambria Math" panose="02040503050406030204" pitchFamily="18" charset="0"/>
                        </a:rPr>
                        <m:t>+</m:t>
                      </m:r>
                      <m:f>
                        <m:fPr>
                          <m:ctrlPr>
                            <a:rPr lang="en-US" sz="1600" i="1">
                              <a:latin typeface="Cambria Math" panose="02040503050406030204" pitchFamily="18" charset="0"/>
                            </a:rPr>
                          </m:ctrlPr>
                        </m:fPr>
                        <m:num>
                          <m:r>
                            <a:rPr lang="en-US" sz="1600" i="1">
                              <a:latin typeface="Cambria Math" panose="02040503050406030204" pitchFamily="18" charset="0"/>
                            </a:rPr>
                            <m:t>1</m:t>
                          </m:r>
                        </m:num>
                        <m:den>
                          <m:r>
                            <a:rPr lang="en-US" sz="1600" i="1">
                              <a:latin typeface="Cambria Math" panose="02040503050406030204" pitchFamily="18" charset="0"/>
                            </a:rPr>
                            <m:t>2</m:t>
                          </m:r>
                        </m:den>
                      </m:f>
                      <m:nary>
                        <m:naryPr>
                          <m:chr m:val="∑"/>
                          <m:supHide m:val="on"/>
                          <m:ctrlPr>
                            <a:rPr lang="en-US" sz="1600" i="1">
                              <a:latin typeface="Cambria Math" panose="02040503050406030204" pitchFamily="18" charset="0"/>
                            </a:rPr>
                          </m:ctrlPr>
                        </m:naryPr>
                        <m:sub>
                          <m:r>
                            <a:rPr lang="en-US" sz="1600" i="1">
                              <a:latin typeface="Cambria Math" panose="02040503050406030204" pitchFamily="18" charset="0"/>
                            </a:rPr>
                            <m:t>𝐼</m:t>
                          </m:r>
                          <m:r>
                            <a:rPr lang="en-US" sz="1600" i="1">
                              <a:latin typeface="Cambria Math" panose="02040503050406030204" pitchFamily="18" charset="0"/>
                            </a:rPr>
                            <m:t>≠</m:t>
                          </m:r>
                          <m:r>
                            <a:rPr lang="en-US" sz="1600" i="1">
                              <a:latin typeface="Cambria Math" panose="02040503050406030204" pitchFamily="18" charset="0"/>
                            </a:rPr>
                            <m:t>𝐽</m:t>
                          </m:r>
                          <m:r>
                            <a:rPr lang="en-US" sz="1600" i="1">
                              <a:latin typeface="Cambria Math" panose="02040503050406030204" pitchFamily="18" charset="0"/>
                            </a:rPr>
                            <m:t>∈</m:t>
                          </m:r>
                          <m:r>
                            <a:rPr lang="en-US" sz="1600" i="1">
                              <a:latin typeface="Cambria Math" panose="02040503050406030204" pitchFamily="18" charset="0"/>
                            </a:rPr>
                            <m:t>𝑛𝑢𝑐</m:t>
                          </m:r>
                        </m:sub>
                        <m:sup/>
                        <m:e>
                          <m:f>
                            <m:fPr>
                              <m:ctrlPr>
                                <a:rPr lang="en-US" sz="1600" i="1">
                                  <a:latin typeface="Cambria Math" panose="02040503050406030204" pitchFamily="18" charset="0"/>
                                </a:rPr>
                              </m:ctrlPr>
                            </m:fPr>
                            <m:num>
                              <m:sSub>
                                <m:sSubPr>
                                  <m:ctrlPr>
                                    <a:rPr lang="en-US" sz="1600" i="1">
                                      <a:latin typeface="Cambria Math" panose="02040503050406030204" pitchFamily="18" charset="0"/>
                                    </a:rPr>
                                  </m:ctrlPr>
                                </m:sSubPr>
                                <m:e>
                                  <m:r>
                                    <a:rPr lang="en-US" sz="1600" i="1">
                                      <a:latin typeface="Cambria Math" panose="02040503050406030204" pitchFamily="18" charset="0"/>
                                    </a:rPr>
                                    <m:t>𝑍</m:t>
                                  </m:r>
                                </m:e>
                                <m:sub>
                                  <m:r>
                                    <a:rPr lang="en-US" sz="1600" i="1">
                                      <a:latin typeface="Cambria Math" panose="02040503050406030204" pitchFamily="18" charset="0"/>
                                    </a:rPr>
                                    <m:t>𝐼</m:t>
                                  </m:r>
                                </m:sub>
                              </m:sSub>
                              <m:sSub>
                                <m:sSubPr>
                                  <m:ctrlPr>
                                    <a:rPr lang="en-US" sz="1600" i="1">
                                      <a:latin typeface="Cambria Math" panose="02040503050406030204" pitchFamily="18" charset="0"/>
                                    </a:rPr>
                                  </m:ctrlPr>
                                </m:sSubPr>
                                <m:e>
                                  <m:r>
                                    <a:rPr lang="en-US" sz="1600" i="1">
                                      <a:latin typeface="Cambria Math" panose="02040503050406030204" pitchFamily="18" charset="0"/>
                                    </a:rPr>
                                    <m:t>𝑍</m:t>
                                  </m:r>
                                </m:e>
                                <m:sub>
                                  <m:r>
                                    <a:rPr lang="en-US" sz="1600" i="1">
                                      <a:latin typeface="Cambria Math" panose="02040503050406030204" pitchFamily="18" charset="0"/>
                                    </a:rPr>
                                    <m:t>𝐽</m:t>
                                  </m:r>
                                </m:sub>
                              </m:sSub>
                            </m:num>
                            <m:den>
                              <m:d>
                                <m:dPr>
                                  <m:begChr m:val="|"/>
                                  <m:endChr m:val="|"/>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b="1" i="1">
                                          <a:latin typeface="Cambria Math" panose="02040503050406030204" pitchFamily="18" charset="0"/>
                                        </a:rPr>
                                        <m:t>𝑹</m:t>
                                      </m:r>
                                    </m:e>
                                    <m:sub>
                                      <m:r>
                                        <a:rPr lang="en-US" sz="1600" i="1">
                                          <a:latin typeface="Cambria Math" panose="02040503050406030204" pitchFamily="18" charset="0"/>
                                        </a:rPr>
                                        <m:t>𝐼</m:t>
                                      </m:r>
                                    </m:sub>
                                  </m:sSub>
                                  <m:r>
                                    <a:rPr lang="en-US" sz="1600" i="1">
                                      <a:latin typeface="Cambria Math" panose="02040503050406030204" pitchFamily="18" charset="0"/>
                                    </a:rPr>
                                    <m:t>−</m:t>
                                  </m:r>
                                  <m:sSub>
                                    <m:sSubPr>
                                      <m:ctrlPr>
                                        <a:rPr lang="en-US" sz="1600" i="1">
                                          <a:latin typeface="Cambria Math" panose="02040503050406030204" pitchFamily="18" charset="0"/>
                                        </a:rPr>
                                      </m:ctrlPr>
                                    </m:sSubPr>
                                    <m:e>
                                      <m:r>
                                        <a:rPr lang="en-US" sz="1600" b="1" i="1">
                                          <a:latin typeface="Cambria Math" panose="02040503050406030204" pitchFamily="18" charset="0"/>
                                        </a:rPr>
                                        <m:t>𝑹</m:t>
                                      </m:r>
                                    </m:e>
                                    <m:sub>
                                      <m:r>
                                        <a:rPr lang="en-US" sz="1600" i="1">
                                          <a:latin typeface="Cambria Math" panose="02040503050406030204" pitchFamily="18" charset="0"/>
                                        </a:rPr>
                                        <m:t>𝐽</m:t>
                                      </m:r>
                                    </m:sub>
                                  </m:sSub>
                                </m:e>
                              </m:d>
                            </m:den>
                          </m:f>
                          <m:r>
                            <a:rPr lang="en-US" sz="1600" b="0" i="1" smtClean="0">
                              <a:latin typeface="Cambria Math" panose="02040503050406030204" pitchFamily="18" charset="0"/>
                            </a:rPr>
                            <m:t>+</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𝐸</m:t>
                              </m:r>
                            </m:e>
                            <m:sub>
                              <m:r>
                                <a:rPr lang="en-US" sz="1600" b="0" i="1" smtClean="0">
                                  <a:latin typeface="Cambria Math" panose="02040503050406030204" pitchFamily="18" charset="0"/>
                                </a:rPr>
                                <m:t>𝑒𝑙</m:t>
                              </m:r>
                            </m:sub>
                          </m:sSub>
                          <m:d>
                            <m:dPr>
                              <m:ctrlPr>
                                <a:rPr lang="en-US" sz="1600" b="0" i="1" smtClean="0">
                                  <a:latin typeface="Cambria Math" panose="02040503050406030204" pitchFamily="18" charset="0"/>
                                </a:rPr>
                              </m:ctrlPr>
                            </m:dPr>
                            <m:e>
                              <m:r>
                                <a:rPr lang="en-US" sz="1600" b="1" i="1" smtClean="0">
                                  <a:latin typeface="Cambria Math" panose="02040503050406030204" pitchFamily="18" charset="0"/>
                                </a:rPr>
                                <m:t>𝑹</m:t>
                              </m:r>
                            </m:e>
                          </m:d>
                        </m:e>
                      </m:nary>
                    </m:oMath>
                  </m:oMathPara>
                </a14:m>
                <a:endParaRPr lang="en-US" sz="1600" b="0" dirty="0"/>
              </a:p>
              <a:p>
                <a:pPr marL="0" indent="0">
                  <a:buNone/>
                </a:pPr>
                <a:r>
                  <a:rPr lang="en-US" sz="1800" dirty="0"/>
                  <a:t>The motion is described by</a:t>
                </a:r>
              </a:p>
              <a:p>
                <a:pPr marL="0" indent="0">
                  <a:buNone/>
                </a:pPr>
                <a14:m>
                  <m:oMathPara xmlns:m="http://schemas.openxmlformats.org/officeDocument/2006/math">
                    <m:oMathParaPr>
                      <m:jc m:val="centerGroup"/>
                    </m:oMathParaPr>
                    <m:oMath xmlns:m="http://schemas.openxmlformats.org/officeDocument/2006/math">
                      <m:f>
                        <m:fPr>
                          <m:ctrlPr>
                            <a:rPr lang="en-US" sz="1800" i="1" smtClean="0">
                              <a:latin typeface="Cambria Math" panose="02040503050406030204" pitchFamily="18" charset="0"/>
                            </a:rPr>
                          </m:ctrlPr>
                        </m:fPr>
                        <m:num>
                          <m:r>
                            <m:rPr>
                              <m:sty m:val="p"/>
                            </m:rPr>
                            <a:rPr lang="en-US" sz="1800" b="0" i="0" smtClean="0">
                              <a:latin typeface="Cambria Math" panose="02040503050406030204" pitchFamily="18" charset="0"/>
                            </a:rPr>
                            <m:t>d</m:t>
                          </m:r>
                          <m:sSub>
                            <m:sSubPr>
                              <m:ctrlPr>
                                <a:rPr lang="en-US" sz="1800" b="0" i="1" smtClean="0">
                                  <a:latin typeface="Cambria Math" panose="02040503050406030204" pitchFamily="18" charset="0"/>
                                </a:rPr>
                              </m:ctrlPr>
                            </m:sSubPr>
                            <m:e>
                              <m:r>
                                <a:rPr lang="en-US" sz="1800" b="1" i="1" smtClean="0">
                                  <a:latin typeface="Cambria Math" panose="02040503050406030204" pitchFamily="18" charset="0"/>
                                </a:rPr>
                                <m:t>𝑷</m:t>
                              </m:r>
                            </m:e>
                            <m:sub>
                              <m:r>
                                <a:rPr lang="en-US" sz="1800" b="0" i="1" smtClean="0">
                                  <a:latin typeface="Cambria Math" panose="02040503050406030204" pitchFamily="18" charset="0"/>
                                </a:rPr>
                                <m:t>𝐼</m:t>
                              </m:r>
                            </m:sub>
                          </m:sSub>
                        </m:num>
                        <m:den>
                          <m:r>
                            <m:rPr>
                              <m:sty m:val="p"/>
                            </m:rPr>
                            <a:rPr lang="en-US" sz="1800" b="0" i="0" smtClean="0">
                              <a:latin typeface="Cambria Math" panose="02040503050406030204" pitchFamily="18" charset="0"/>
                            </a:rPr>
                            <m:t>d</m:t>
                          </m:r>
                          <m:r>
                            <a:rPr lang="en-US" sz="1800" b="0" i="1" smtClean="0">
                              <a:latin typeface="Cambria Math" panose="02040503050406030204" pitchFamily="18" charset="0"/>
                            </a:rPr>
                            <m:t>𝑡</m:t>
                          </m:r>
                        </m:den>
                      </m:f>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m:rPr>
                              <m:sty m:val="p"/>
                            </m:rPr>
                            <a:rPr lang="en-US" sz="1800" b="0" i="0" smtClean="0">
                              <a:latin typeface="Cambria Math" panose="02040503050406030204" pitchFamily="18" charset="0"/>
                            </a:rPr>
                            <m:t>∇</m:t>
                          </m:r>
                        </m:e>
                        <m:sub>
                          <m:r>
                            <a:rPr lang="en-US" sz="1800" b="0" i="1" smtClean="0">
                              <a:latin typeface="Cambria Math" panose="02040503050406030204" pitchFamily="18" charset="0"/>
                            </a:rPr>
                            <m:t>𝐼</m:t>
                          </m:r>
                        </m:sub>
                      </m:sSub>
                      <m:r>
                        <a:rPr lang="en-US" sz="1800" b="0" i="1" smtClean="0">
                          <a:latin typeface="Cambria Math" panose="02040503050406030204" pitchFamily="18" charset="0"/>
                        </a:rPr>
                        <m:t>𝐻</m:t>
                      </m:r>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𝑍</m:t>
                          </m:r>
                        </m:e>
                        <m:sub>
                          <m:r>
                            <a:rPr lang="en-US" sz="1800" b="0" i="1" smtClean="0">
                              <a:latin typeface="Cambria Math" panose="02040503050406030204" pitchFamily="18" charset="0"/>
                            </a:rPr>
                            <m:t>𝐼</m:t>
                          </m:r>
                        </m:sub>
                      </m:sSub>
                      <m:nary>
                        <m:naryPr>
                          <m:chr m:val="∑"/>
                          <m:supHide m:val="on"/>
                          <m:ctrlPr>
                            <a:rPr lang="en-US" sz="1800" b="0" i="1" smtClean="0">
                              <a:latin typeface="Cambria Math" panose="02040503050406030204" pitchFamily="18" charset="0"/>
                            </a:rPr>
                          </m:ctrlPr>
                        </m:naryPr>
                        <m:sub>
                          <m:r>
                            <a:rPr lang="en-US" sz="1800" b="0" i="1" smtClean="0">
                              <a:latin typeface="Cambria Math" panose="02040503050406030204" pitchFamily="18" charset="0"/>
                            </a:rPr>
                            <m:t>𝐽</m:t>
                          </m:r>
                          <m:r>
                            <a:rPr lang="en-US" sz="1800" b="0" i="1" smtClean="0">
                              <a:latin typeface="Cambria Math" panose="02040503050406030204" pitchFamily="18" charset="0"/>
                            </a:rPr>
                            <m:t>∈</m:t>
                          </m:r>
                          <m:r>
                            <a:rPr lang="en-US" sz="1800" b="0" i="1" smtClean="0">
                              <a:latin typeface="Cambria Math" panose="02040503050406030204" pitchFamily="18" charset="0"/>
                            </a:rPr>
                            <m:t>𝑛𝑢𝑐</m:t>
                          </m:r>
                        </m:sub>
                        <m:sup/>
                        <m:e>
                          <m:f>
                            <m:fPr>
                              <m:ctrlPr>
                                <a:rPr lang="en-US" sz="1800" b="0" i="1" smtClean="0">
                                  <a:latin typeface="Cambria Math" panose="02040503050406030204" pitchFamily="18" charset="0"/>
                                </a:rPr>
                              </m:ctrlPr>
                            </m:fPr>
                            <m:num>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𝑍</m:t>
                                  </m:r>
                                </m:e>
                                <m:sub>
                                  <m:r>
                                    <a:rPr lang="en-US" sz="1800" b="0" i="1" smtClean="0">
                                      <a:latin typeface="Cambria Math" panose="02040503050406030204" pitchFamily="18" charset="0"/>
                                    </a:rPr>
                                    <m:t>𝐽</m:t>
                                  </m:r>
                                </m:sub>
                              </m:sSub>
                            </m:num>
                            <m:den>
                              <m:sSup>
                                <m:sSupPr>
                                  <m:ctrlPr>
                                    <a:rPr lang="en-US" sz="1800" b="0" i="1" smtClean="0">
                                      <a:latin typeface="Cambria Math" panose="02040503050406030204" pitchFamily="18" charset="0"/>
                                    </a:rPr>
                                  </m:ctrlPr>
                                </m:sSupPr>
                                <m:e>
                                  <m:d>
                                    <m:dPr>
                                      <m:begChr m:val="|"/>
                                      <m:endChr m:val="|"/>
                                      <m:ctrlPr>
                                        <a:rPr lang="en-US" sz="1800" b="0" i="1" smtClean="0">
                                          <a:latin typeface="Cambria Math" panose="02040503050406030204" pitchFamily="18" charset="0"/>
                                        </a:rPr>
                                      </m:ctrlPr>
                                    </m:dPr>
                                    <m:e>
                                      <m:sSub>
                                        <m:sSubPr>
                                          <m:ctrlPr>
                                            <a:rPr lang="en-US" sz="1800" b="0" i="1" smtClean="0">
                                              <a:latin typeface="Cambria Math" panose="02040503050406030204" pitchFamily="18" charset="0"/>
                                            </a:rPr>
                                          </m:ctrlPr>
                                        </m:sSubPr>
                                        <m:e>
                                          <m:r>
                                            <a:rPr lang="en-US" sz="1800" b="1" i="1" smtClean="0">
                                              <a:latin typeface="Cambria Math" panose="02040503050406030204" pitchFamily="18" charset="0"/>
                                            </a:rPr>
                                            <m:t>𝑹</m:t>
                                          </m:r>
                                        </m:e>
                                        <m:sub>
                                          <m:r>
                                            <a:rPr lang="en-US" sz="1800" b="0" i="1" smtClean="0">
                                              <a:latin typeface="Cambria Math" panose="02040503050406030204" pitchFamily="18" charset="0"/>
                                            </a:rPr>
                                            <m:t>𝐼</m:t>
                                          </m:r>
                                        </m:sub>
                                      </m:sSub>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1" i="1" smtClean="0">
                                              <a:latin typeface="Cambria Math" panose="02040503050406030204" pitchFamily="18" charset="0"/>
                                            </a:rPr>
                                            <m:t>𝑹</m:t>
                                          </m:r>
                                        </m:e>
                                        <m:sub>
                                          <m:r>
                                            <a:rPr lang="en-US" sz="1800" b="0" i="1" smtClean="0">
                                              <a:latin typeface="Cambria Math" panose="02040503050406030204" pitchFamily="18" charset="0"/>
                                            </a:rPr>
                                            <m:t>𝐽</m:t>
                                          </m:r>
                                        </m:sub>
                                      </m:sSub>
                                    </m:e>
                                  </m:d>
                                </m:e>
                                <m:sup>
                                  <m:r>
                                    <a:rPr lang="en-US" sz="1800" b="0" i="1" smtClean="0">
                                      <a:latin typeface="Cambria Math" panose="02040503050406030204" pitchFamily="18" charset="0"/>
                                    </a:rPr>
                                    <m:t>2</m:t>
                                  </m:r>
                                </m:sup>
                              </m:sSup>
                            </m:den>
                          </m:f>
                        </m:e>
                      </m:nary>
                      <m:sSub>
                        <m:sSubPr>
                          <m:ctrlPr>
                            <a:rPr lang="en-US" sz="1800" b="1" i="1" smtClean="0">
                              <a:latin typeface="Cambria Math" panose="02040503050406030204" pitchFamily="18" charset="0"/>
                            </a:rPr>
                          </m:ctrlPr>
                        </m:sSubPr>
                        <m:e>
                          <m:r>
                            <a:rPr lang="en-US" sz="1800" b="1" i="1" smtClean="0">
                              <a:latin typeface="Cambria Math" panose="02040503050406030204" pitchFamily="18" charset="0"/>
                            </a:rPr>
                            <m:t>𝒆</m:t>
                          </m:r>
                        </m:e>
                        <m:sub>
                          <m:r>
                            <a:rPr lang="en-US" sz="1800" b="0" i="1" smtClean="0">
                              <a:latin typeface="Cambria Math" panose="02040503050406030204" pitchFamily="18" charset="0"/>
                            </a:rPr>
                            <m:t>𝐼𝐽</m:t>
                          </m:r>
                        </m:sub>
                      </m:sSub>
                      <m:r>
                        <a:rPr lang="en-US" sz="1800" b="1" i="1" smtClean="0">
                          <a:latin typeface="Cambria Math" panose="02040503050406030204" pitchFamily="18" charset="0"/>
                        </a:rPr>
                        <m:t>−</m:t>
                      </m:r>
                      <m:sSub>
                        <m:sSubPr>
                          <m:ctrlPr>
                            <a:rPr lang="en-US" sz="1800" i="1" smtClean="0">
                              <a:latin typeface="Cambria Math" panose="02040503050406030204" pitchFamily="18" charset="0"/>
                            </a:rPr>
                          </m:ctrlPr>
                        </m:sSubPr>
                        <m:e>
                          <m:r>
                            <m:rPr>
                              <m:sty m:val="p"/>
                            </m:rPr>
                            <a:rPr lang="en-US" sz="1800" b="0" i="0" smtClean="0">
                              <a:latin typeface="Cambria Math" panose="02040503050406030204" pitchFamily="18" charset="0"/>
                            </a:rPr>
                            <m:t>∇</m:t>
                          </m:r>
                        </m:e>
                        <m:sub>
                          <m:r>
                            <a:rPr lang="en-US" sz="1800" b="0" i="1" smtClean="0">
                              <a:latin typeface="Cambria Math" panose="02040503050406030204" pitchFamily="18" charset="0"/>
                            </a:rPr>
                            <m:t>𝐼</m:t>
                          </m:r>
                        </m:sub>
                      </m:sSub>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𝐸</m:t>
                          </m:r>
                        </m:e>
                        <m:sub>
                          <m:r>
                            <a:rPr lang="en-US" sz="1800" b="0" i="1" smtClean="0">
                              <a:latin typeface="Cambria Math" panose="02040503050406030204" pitchFamily="18" charset="0"/>
                            </a:rPr>
                            <m:t>𝑒𝑙</m:t>
                          </m:r>
                        </m:sub>
                      </m:sSub>
                      <m:d>
                        <m:dPr>
                          <m:ctrlPr>
                            <a:rPr lang="en-US" sz="1800" b="0" i="1" smtClean="0">
                              <a:latin typeface="Cambria Math" panose="02040503050406030204" pitchFamily="18" charset="0"/>
                            </a:rPr>
                          </m:ctrlPr>
                        </m:dPr>
                        <m:e>
                          <m:r>
                            <a:rPr lang="en-US" sz="1800" b="1" i="1" smtClean="0">
                              <a:latin typeface="Cambria Math" panose="02040503050406030204" pitchFamily="18" charset="0"/>
                            </a:rPr>
                            <m:t>𝑹</m:t>
                          </m:r>
                        </m:e>
                      </m:d>
                    </m:oMath>
                    <m:oMath xmlns:m="http://schemas.openxmlformats.org/officeDocument/2006/math">
                      <m:f>
                        <m:fPr>
                          <m:ctrlPr>
                            <a:rPr lang="en-US" sz="1800" b="0" i="1" smtClean="0">
                              <a:latin typeface="Cambria Math" panose="02040503050406030204" pitchFamily="18" charset="0"/>
                            </a:rPr>
                          </m:ctrlPr>
                        </m:fPr>
                        <m:num>
                          <m:r>
                            <m:rPr>
                              <m:sty m:val="p"/>
                            </m:rPr>
                            <a:rPr lang="en-US" sz="1800" b="0" i="0" smtClean="0">
                              <a:latin typeface="Cambria Math" panose="02040503050406030204" pitchFamily="18" charset="0"/>
                            </a:rPr>
                            <m:t>d</m:t>
                          </m:r>
                          <m:sSub>
                            <m:sSubPr>
                              <m:ctrlPr>
                                <a:rPr lang="en-US" sz="1800" b="0" i="1" smtClean="0">
                                  <a:latin typeface="Cambria Math" panose="02040503050406030204" pitchFamily="18" charset="0"/>
                                </a:rPr>
                              </m:ctrlPr>
                            </m:sSubPr>
                            <m:e>
                              <m:r>
                                <a:rPr lang="en-US" sz="1800" b="1" i="1" smtClean="0">
                                  <a:latin typeface="Cambria Math" panose="02040503050406030204" pitchFamily="18" charset="0"/>
                                </a:rPr>
                                <m:t>𝑹</m:t>
                              </m:r>
                            </m:e>
                            <m:sub>
                              <m:r>
                                <a:rPr lang="en-US" sz="1800" b="0" i="1" smtClean="0">
                                  <a:latin typeface="Cambria Math" panose="02040503050406030204" pitchFamily="18" charset="0"/>
                                </a:rPr>
                                <m:t>𝐼</m:t>
                              </m:r>
                            </m:sub>
                          </m:sSub>
                        </m:num>
                        <m:den>
                          <m:r>
                            <m:rPr>
                              <m:sty m:val="p"/>
                            </m:rPr>
                            <a:rPr lang="en-US" sz="1800" b="0" i="0" smtClean="0">
                              <a:latin typeface="Cambria Math" panose="02040503050406030204" pitchFamily="18" charset="0"/>
                            </a:rPr>
                            <m:t>d</m:t>
                          </m:r>
                          <m:r>
                            <a:rPr lang="en-US" sz="1800" b="0" i="1" smtClean="0">
                              <a:latin typeface="Cambria Math" panose="02040503050406030204" pitchFamily="18" charset="0"/>
                            </a:rPr>
                            <m:t>𝑡</m:t>
                          </m:r>
                        </m:den>
                      </m:f>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m:rPr>
                              <m:sty m:val="p"/>
                            </m:rPr>
                            <a:rPr lang="en-US" sz="1800" b="0" i="0" smtClean="0">
                              <a:latin typeface="Cambria Math" panose="02040503050406030204" pitchFamily="18" charset="0"/>
                            </a:rPr>
                            <m:t>∇</m:t>
                          </m:r>
                        </m:e>
                        <m:sub>
                          <m:sSub>
                            <m:sSubPr>
                              <m:ctrlPr>
                                <a:rPr lang="en-US" sz="1800" b="0" i="1" smtClean="0">
                                  <a:latin typeface="Cambria Math" panose="02040503050406030204" pitchFamily="18" charset="0"/>
                                </a:rPr>
                              </m:ctrlPr>
                            </m:sSubPr>
                            <m:e>
                              <m:r>
                                <a:rPr lang="en-US" sz="1800" b="1" i="1" smtClean="0">
                                  <a:latin typeface="Cambria Math" panose="02040503050406030204" pitchFamily="18" charset="0"/>
                                </a:rPr>
                                <m:t>𝑷</m:t>
                              </m:r>
                            </m:e>
                            <m:sub>
                              <m:r>
                                <a:rPr lang="en-US" sz="1800" b="0" i="1" smtClean="0">
                                  <a:latin typeface="Cambria Math" panose="02040503050406030204" pitchFamily="18" charset="0"/>
                                </a:rPr>
                                <m:t>𝐼</m:t>
                              </m:r>
                            </m:sub>
                          </m:sSub>
                        </m:sub>
                      </m:sSub>
                      <m:r>
                        <a:rPr lang="en-US" sz="1800" b="0" i="1" smtClean="0">
                          <a:latin typeface="Cambria Math" panose="02040503050406030204" pitchFamily="18" charset="0"/>
                        </a:rPr>
                        <m:t>𝐻</m:t>
                      </m:r>
                      <m:r>
                        <a:rPr lang="en-US" sz="1800" b="0" i="1" smtClean="0">
                          <a:latin typeface="Cambria Math" panose="02040503050406030204" pitchFamily="18" charset="0"/>
                        </a:rPr>
                        <m:t>= </m:t>
                      </m:r>
                      <m:f>
                        <m:fPr>
                          <m:ctrlPr>
                            <a:rPr lang="en-US" sz="1800" b="0" i="1" smtClean="0">
                              <a:latin typeface="Cambria Math" panose="02040503050406030204" pitchFamily="18" charset="0"/>
                            </a:rPr>
                          </m:ctrlPr>
                        </m:fPr>
                        <m:num>
                          <m:sSub>
                            <m:sSubPr>
                              <m:ctrlPr>
                                <a:rPr lang="en-US" sz="1800" b="0" i="1" smtClean="0">
                                  <a:latin typeface="Cambria Math" panose="02040503050406030204" pitchFamily="18" charset="0"/>
                                </a:rPr>
                              </m:ctrlPr>
                            </m:sSubPr>
                            <m:e>
                              <m:r>
                                <a:rPr lang="en-US" sz="1800" b="1" i="1" smtClean="0">
                                  <a:latin typeface="Cambria Math" panose="02040503050406030204" pitchFamily="18" charset="0"/>
                                </a:rPr>
                                <m:t>𝑷</m:t>
                              </m:r>
                            </m:e>
                            <m:sub>
                              <m:r>
                                <a:rPr lang="en-US" sz="1800" b="0" i="1" smtClean="0">
                                  <a:latin typeface="Cambria Math" panose="02040503050406030204" pitchFamily="18" charset="0"/>
                                </a:rPr>
                                <m:t>𝐼</m:t>
                              </m:r>
                            </m:sub>
                          </m:sSub>
                        </m:num>
                        <m:den>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𝑀</m:t>
                              </m:r>
                            </m:e>
                            <m:sub>
                              <m:r>
                                <a:rPr lang="en-US" sz="1800" b="0" i="1" smtClean="0">
                                  <a:latin typeface="Cambria Math" panose="02040503050406030204" pitchFamily="18" charset="0"/>
                                </a:rPr>
                                <m:t>𝐼</m:t>
                              </m:r>
                            </m:sub>
                          </m:sSub>
                        </m:den>
                      </m:f>
                    </m:oMath>
                  </m:oMathPara>
                </a14:m>
                <a:endParaRPr lang="en-US" sz="1800" b="0" dirty="0"/>
              </a:p>
              <a:p>
                <a:pPr marL="0" indent="0">
                  <a:buNone/>
                </a:pPr>
                <a:r>
                  <a:rPr lang="en-US" sz="1800" b="0" dirty="0"/>
                  <a:t>Can be solved with your favorite ODE solver once the force </a:t>
                </a:r>
                <a14:m>
                  <m:oMath xmlns:m="http://schemas.openxmlformats.org/officeDocument/2006/math">
                    <m:sSub>
                      <m:sSubPr>
                        <m:ctrlPr>
                          <a:rPr lang="en-US" sz="1800" i="1" smtClean="0">
                            <a:latin typeface="Cambria Math" panose="02040503050406030204" pitchFamily="18" charset="0"/>
                          </a:rPr>
                        </m:ctrlPr>
                      </m:sSubPr>
                      <m:e>
                        <m:r>
                          <m:rPr>
                            <m:sty m:val="p"/>
                          </m:rPr>
                          <a:rPr lang="en-US" sz="1800" b="0" i="0" smtClean="0">
                            <a:latin typeface="Cambria Math" panose="02040503050406030204" pitchFamily="18" charset="0"/>
                          </a:rPr>
                          <m:t>∇</m:t>
                        </m:r>
                      </m:e>
                      <m:sub>
                        <m:r>
                          <a:rPr lang="en-US" sz="1800" b="0" i="1" smtClean="0">
                            <a:latin typeface="Cambria Math" panose="02040503050406030204" pitchFamily="18" charset="0"/>
                          </a:rPr>
                          <m:t>𝐼</m:t>
                        </m:r>
                      </m:sub>
                    </m:sSub>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𝐸</m:t>
                        </m:r>
                      </m:e>
                      <m:sub>
                        <m:r>
                          <a:rPr lang="en-US" sz="1800" b="0" i="1" smtClean="0">
                            <a:latin typeface="Cambria Math" panose="02040503050406030204" pitchFamily="18" charset="0"/>
                          </a:rPr>
                          <m:t>𝑒𝑙</m:t>
                        </m:r>
                      </m:sub>
                    </m:sSub>
                    <m:d>
                      <m:dPr>
                        <m:ctrlPr>
                          <a:rPr lang="en-US" sz="1800" b="0" i="1" smtClean="0">
                            <a:latin typeface="Cambria Math" panose="02040503050406030204" pitchFamily="18" charset="0"/>
                          </a:rPr>
                        </m:ctrlPr>
                      </m:dPr>
                      <m:e>
                        <m:r>
                          <a:rPr lang="en-US" sz="1800" b="1" i="1" smtClean="0">
                            <a:latin typeface="Cambria Math" panose="02040503050406030204" pitchFamily="18" charset="0"/>
                          </a:rPr>
                          <m:t>𝑹</m:t>
                        </m:r>
                      </m:e>
                    </m:d>
                  </m:oMath>
                </a14:m>
                <a:r>
                  <a:rPr lang="en-US" sz="1800" b="1" dirty="0"/>
                  <a:t> </a:t>
                </a:r>
                <a:r>
                  <a:rPr lang="en-US" sz="1800" dirty="0"/>
                  <a:t>is know.</a:t>
                </a:r>
              </a:p>
            </p:txBody>
          </p:sp>
        </mc:Choice>
        <mc:Fallback xmlns="">
          <p:sp>
            <p:nvSpPr>
              <p:cNvPr id="3" name="Content Placeholder 2">
                <a:extLst>
                  <a:ext uri="{FF2B5EF4-FFF2-40B4-BE49-F238E27FC236}">
                    <a16:creationId xmlns:a16="http://schemas.microsoft.com/office/drawing/2014/main" id="{99D65627-B51E-4E9B-A3DD-C153CECBBC02}"/>
                  </a:ext>
                </a:extLst>
              </p:cNvPr>
              <p:cNvSpPr>
                <a:spLocks noGrp="1" noRot="1" noChangeAspect="1" noMove="1" noResize="1" noEditPoints="1" noAdjustHandles="1" noChangeArrowheads="1" noChangeShapeType="1" noTextEdit="1"/>
              </p:cNvSpPr>
              <p:nvPr>
                <p:ph idx="1"/>
              </p:nvPr>
            </p:nvSpPr>
            <p:spPr>
              <a:blipFill>
                <a:blip r:embed="rId2"/>
                <a:stretch>
                  <a:fillRect l="-1667" t="-2334"/>
                </a:stretch>
              </a:blipFill>
            </p:spPr>
            <p:txBody>
              <a:bodyPr/>
              <a:lstStyle/>
              <a:p>
                <a:r>
                  <a:rPr lang="en-US">
                    <a:noFill/>
                  </a:rPr>
                  <a:t> </a:t>
                </a:r>
              </a:p>
            </p:txBody>
          </p:sp>
        </mc:Fallback>
      </mc:AlternateContent>
    </p:spTree>
    <p:extLst>
      <p:ext uri="{BB962C8B-B14F-4D97-AF65-F5344CB8AC3E}">
        <p14:creationId xmlns:p14="http://schemas.microsoft.com/office/powerpoint/2010/main" val="2197515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SingleBoatText"/>
</p:tagLst>
</file>

<file path=ppt/tags/tag1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xml><?xml version="1.0" encoding="utf-8"?>
<p:tagLst xmlns:a="http://schemas.openxmlformats.org/drawingml/2006/main" xmlns:r="http://schemas.openxmlformats.org/officeDocument/2006/relationships" xmlns:p="http://schemas.openxmlformats.org/presentationml/2006/main">
  <p:tag name="NAME" val="SingleBoatText"/>
</p:tagLst>
</file>

<file path=ppt/tags/tag1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BHjEHETRS_saafCvXlqEg"/>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NAME" val="Flow2"/>
</p:tagLst>
</file>

<file path=ppt/tags/tag5.xml><?xml version="1.0" encoding="utf-8"?>
<p:tagLst xmlns:a="http://schemas.openxmlformats.org/drawingml/2006/main" xmlns:r="http://schemas.openxmlformats.org/officeDocument/2006/relationships" xmlns:p="http://schemas.openxmlformats.org/presentationml/2006/main">
  <p:tag name="NAME" val="Flow2"/>
</p:tagLst>
</file>

<file path=ppt/tags/tag6.xml><?xml version="1.0" encoding="utf-8"?>
<p:tagLst xmlns:a="http://schemas.openxmlformats.org/drawingml/2006/main" xmlns:r="http://schemas.openxmlformats.org/officeDocument/2006/relationships" xmlns:p="http://schemas.openxmlformats.org/presentationml/2006/main">
  <p:tag name="NAME" val="Flow2"/>
</p:tagLst>
</file>

<file path=ppt/tags/tag7.xml><?xml version="1.0" encoding="utf-8"?>
<p:tagLst xmlns:a="http://schemas.openxmlformats.org/drawingml/2006/main" xmlns:r="http://schemas.openxmlformats.org/officeDocument/2006/relationships" xmlns:p="http://schemas.openxmlformats.org/presentationml/2006/main">
  <p:tag name="NAME" val="SingleBoatShape"/>
</p:tagLst>
</file>

<file path=ppt/tags/tag8.xml><?xml version="1.0" encoding="utf-8"?>
<p:tagLst xmlns:a="http://schemas.openxmlformats.org/drawingml/2006/main" xmlns:r="http://schemas.openxmlformats.org/officeDocument/2006/relationships" xmlns:p="http://schemas.openxmlformats.org/presentationml/2006/main">
  <p:tag name="NAME" val="SingleBoatShape"/>
</p:tagLst>
</file>

<file path=ppt/tags/tag9.xml><?xml version="1.0" encoding="utf-8"?>
<p:tagLst xmlns:a="http://schemas.openxmlformats.org/drawingml/2006/main" xmlns:r="http://schemas.openxmlformats.org/officeDocument/2006/relationships" xmlns:p="http://schemas.openxmlformats.org/presentationml/2006/main">
  <p:tag name="NAME" val="SingleBoatShape"/>
</p:tagLst>
</file>

<file path=ppt/theme/theme1.xml><?xml version="1.0" encoding="utf-8"?>
<a:theme xmlns:a="http://schemas.openxmlformats.org/drawingml/2006/main" name="BI_Corporate_16_9">
  <a:themeElements>
    <a:clrScheme name="Boehringer Ingelheim">
      <a:dk1>
        <a:srgbClr val="000000"/>
      </a:dk1>
      <a:lt1>
        <a:srgbClr val="FFFFFF"/>
      </a:lt1>
      <a:dk2>
        <a:srgbClr val="1F497D"/>
      </a:dk2>
      <a:lt2>
        <a:srgbClr val="EEECE1"/>
      </a:lt2>
      <a:accent1>
        <a:srgbClr val="123563"/>
      </a:accent1>
      <a:accent2>
        <a:srgbClr val="336597"/>
      </a:accent2>
      <a:accent3>
        <a:srgbClr val="6697BF"/>
      </a:accent3>
      <a:accent4>
        <a:srgbClr val="C73635"/>
      </a:accent4>
      <a:accent5>
        <a:srgbClr val="649A9C"/>
      </a:accent5>
      <a:accent6>
        <a:srgbClr val="9E9C23"/>
      </a:accent6>
      <a:hlink>
        <a:srgbClr val="3763A0"/>
      </a:hlink>
      <a:folHlink>
        <a:srgbClr val="EA9A35"/>
      </a:folHlink>
    </a:clrScheme>
    <a:fontScheme name="Boehringer Ingelheim Font Set">
      <a:majorFont>
        <a:latin typeface="BISansOptiCond"/>
        <a:ea typeface=""/>
        <a:cs typeface=""/>
      </a:majorFont>
      <a:minorFont>
        <a:latin typeface="BISansOpt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extLst>
    <a:ext uri="{05A4C25C-085E-4340-85A3-A5531E510DB2}">
      <thm15:themeFamily xmlns:thm15="http://schemas.microsoft.com/office/thememl/2012/main" name="Präsentation15" id="{2EE0B740-C1E2-5F47-9DC9-1AB0F3EB6989}" vid="{318FD161-97DC-7F45-B134-E4A575C46A90}"/>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I_Corporate_16_9</Template>
  <TotalTime>2805</TotalTime>
  <Words>2382</Words>
  <Application>Microsoft Office PowerPoint</Application>
  <PresentationFormat>On-screen Show (16:9)</PresentationFormat>
  <Paragraphs>253</Paragraphs>
  <Slides>35</Slides>
  <Notes>5</Notes>
  <HiddenSlides>0</HiddenSlides>
  <MMClips>1</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51" baseType="lpstr">
      <vt:lpstr>Arial</vt:lpstr>
      <vt:lpstr>BISans</vt:lpstr>
      <vt:lpstr>BISansCond</vt:lpstr>
      <vt:lpstr>BISansOpti</vt:lpstr>
      <vt:lpstr>BISansOptiCond</vt:lpstr>
      <vt:lpstr>Calibri</vt:lpstr>
      <vt:lpstr>Cambria Math</vt:lpstr>
      <vt:lpstr>Harding</vt:lpstr>
      <vt:lpstr>MTSY</vt:lpstr>
      <vt:lpstr>RMTMI</vt:lpstr>
      <vt:lpstr>Segoe UI</vt:lpstr>
      <vt:lpstr>Times-Italic</vt:lpstr>
      <vt:lpstr>Times-Roman</vt:lpstr>
      <vt:lpstr>Wingdings</vt:lpstr>
      <vt:lpstr>BI_Corporate_16_9</vt:lpstr>
      <vt:lpstr>think-cell Slide</vt:lpstr>
      <vt:lpstr>Nuclear forces with quantum computers</vt:lpstr>
      <vt:lpstr>Why does a pharmaceutical company hire quantum scientists?</vt:lpstr>
      <vt:lpstr>First targets: chemistry</vt:lpstr>
      <vt:lpstr>Molecular dynamics is the driver for most of our computations</vt:lpstr>
      <vt:lpstr>Motivation: where do we need Molecular Dynamics?</vt:lpstr>
      <vt:lpstr>Recap: How is this connected to what we have seen so far?</vt:lpstr>
      <vt:lpstr>Recap: How is this connected to what we have seen so far?</vt:lpstr>
      <vt:lpstr>Born-Oppenheimer approximation</vt:lpstr>
      <vt:lpstr>Born-Oppenheimer</vt:lpstr>
      <vt:lpstr>PowerPoint Presentation</vt:lpstr>
      <vt:lpstr>Energy calculation in NISQ with VQE</vt:lpstr>
      <vt:lpstr>Numerical derivative through finite differences on the energy</vt:lpstr>
      <vt:lpstr>Stability issues of numerical derivatives</vt:lpstr>
      <vt:lpstr>Numerical differentiation in a noisy setting</vt:lpstr>
      <vt:lpstr>Hellman-Feynman or finite differences on the Hamiltonian</vt:lpstr>
      <vt:lpstr>This was Richard Feynman’s Bachelor’s thesis subject</vt:lpstr>
      <vt:lpstr>Noisy simulation of MD with Hellman-Feynman forces</vt:lpstr>
      <vt:lpstr>Hardware experiment of MD with Hellman-Feynman forces</vt:lpstr>
      <vt:lpstr>Pulay terms</vt:lpstr>
      <vt:lpstr>How important are the Pulay terms?</vt:lpstr>
      <vt:lpstr>Analytical derivatives</vt:lpstr>
      <vt:lpstr>Derivatives with respect to matrix elements</vt:lpstr>
      <vt:lpstr>Derivatives with respect to the overlap matrix</vt:lpstr>
      <vt:lpstr>From expectation value to operator</vt:lpstr>
      <vt:lpstr>Where do we get the remaining derivatives?</vt:lpstr>
      <vt:lpstr>How do we measure these operators?</vt:lpstr>
      <vt:lpstr>Scaling of force operator calculations</vt:lpstr>
      <vt:lpstr>Conclusions</vt:lpstr>
      <vt:lpstr>PowerPoint Presentation</vt:lpstr>
      <vt:lpstr>FTQC energy calculation</vt:lpstr>
      <vt:lpstr>Higher order finite differences</vt:lpstr>
      <vt:lpstr>Knill expectation value estimation algorithm</vt:lpstr>
      <vt:lpstr>Importance of the 1-norms</vt:lpstr>
      <vt:lpstr>Conclusions</vt:lpstr>
      <vt:lpstr>PowerPoint Pre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main title</dc:title>
  <dc:creator>Degroote,Dr.,Matthias (QC) BIM-NL-A</dc:creator>
  <cp:lastModifiedBy>Degroote,Dr.,Matthias (QC) BIM-NL-A</cp:lastModifiedBy>
  <cp:revision>2</cp:revision>
  <dcterms:created xsi:type="dcterms:W3CDTF">2022-08-25T08:32:45Z</dcterms:created>
  <dcterms:modified xsi:type="dcterms:W3CDTF">2022-09-09T06:19:45Z</dcterms:modified>
</cp:coreProperties>
</file>